
<file path=[Content_Types].xml><?xml version="1.0" encoding="utf-8"?>
<Types xmlns="http://schemas.openxmlformats.org/package/2006/content-types">
  <Default Extension="jpeg" ContentType="image/jpeg"/>
  <Default Extension="JPG" ContentType="image/.jp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2" r:id="rId3"/>
    <p:sldMasterId id="2147483676" r:id="rId4"/>
    <p:sldMasterId id="2147483690" r:id="rId5"/>
  </p:sldMasterIdLst>
  <p:notesMasterIdLst>
    <p:notesMasterId r:id="rId7"/>
  </p:notesMasterIdLst>
  <p:handoutMasterIdLst>
    <p:handoutMasterId r:id="rId13"/>
  </p:handoutMasterIdLst>
  <p:sldIdLst>
    <p:sldId id="370" r:id="rId6"/>
    <p:sldId id="389" r:id="rId8"/>
    <p:sldId id="447" r:id="rId9"/>
    <p:sldId id="308" r:id="rId10"/>
    <p:sldId id="446" r:id="rId11"/>
    <p:sldId id="282" r:id="rId12"/>
  </p:sldIdLst>
  <p:sldSz cx="9144000" cy="6858000" type="screen4x3"/>
  <p:notesSz cx="6858000" cy="9144000"/>
  <p:custDataLst>
    <p:tags r:id="rId17"/>
  </p:custDataLst>
  <p:defaultTextStyle>
    <a:defPPr>
      <a:defRPr lang="zh-CN"/>
    </a:defPPr>
    <a:lvl1pPr marL="0" lvl="0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lvl="1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lvl="2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lvl="3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lvl="4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lvl="5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lvl="6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lvl="7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lvl="8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8" userDrawn="1">
          <p15:clr>
            <a:srgbClr val="A4A3A4"/>
          </p15:clr>
        </p15:guide>
        <p15:guide id="2" pos="29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9BC4FC"/>
    <a:srgbClr val="4A7DFF"/>
    <a:srgbClr val="003039"/>
    <a:srgbClr val="F9F9F9"/>
    <a:srgbClr val="B8CCE4"/>
    <a:srgbClr val="F2F2F2"/>
    <a:srgbClr val="5B9BD5"/>
    <a:srgbClr val="ADCDF4"/>
    <a:srgbClr val="1552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20"/>
    <p:restoredTop sz="94414" autoAdjust="0"/>
  </p:normalViewPr>
  <p:slideViewPr>
    <p:cSldViewPr showGuides="1">
      <p:cViewPr>
        <p:scale>
          <a:sx n="100" d="100"/>
          <a:sy n="100" d="100"/>
        </p:scale>
        <p:origin x="-294" y="-114"/>
      </p:cViewPr>
      <p:guideLst>
        <p:guide orient="horz" pos="2208"/>
        <p:guide pos="29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3.xml"/><Relationship Id="rId8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6" Type="http://schemas.openxmlformats.org/officeDocument/2006/relationships/slide" Target="slides/slide1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" Type="http://schemas.openxmlformats.org/officeDocument/2006/relationships/slideMaster" Target="slideMasters/slideMaster2.xml"/><Relationship Id="rId2" Type="http://schemas.openxmlformats.org/officeDocument/2006/relationships/theme" Target="theme/theme1.xml"/><Relationship Id="rId17" Type="http://schemas.openxmlformats.org/officeDocument/2006/relationships/tags" Target="tags/tag6.xml"/><Relationship Id="rId16" Type="http://schemas.openxmlformats.org/officeDocument/2006/relationships/tableStyles" Target="tableStyles.xml"/><Relationship Id="rId15" Type="http://schemas.openxmlformats.org/officeDocument/2006/relationships/viewProps" Target="viewProps.xml"/><Relationship Id="rId14" Type="http://schemas.openxmlformats.org/officeDocument/2006/relationships/presProps" Target="presProps.xml"/><Relationship Id="rId13" Type="http://schemas.openxmlformats.org/officeDocument/2006/relationships/handoutMaster" Target="handoutMasters/handoutMaster1.xml"/><Relationship Id="rId12" Type="http://schemas.openxmlformats.org/officeDocument/2006/relationships/slide" Target="slides/slide6.xml"/><Relationship Id="rId11" Type="http://schemas.openxmlformats.org/officeDocument/2006/relationships/slide" Target="slides/slide5.xml"/><Relationship Id="rId10" Type="http://schemas.openxmlformats.org/officeDocument/2006/relationships/slide" Target="slides/slide4.xml"/><Relationship Id="rId1" Type="http://schemas.openxmlformats.org/officeDocument/2006/relationships/slideMaster" Target="slideMasters/slide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48B96-639E-45A3-A0BA-2464DFDB1FA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tags" Target="../tags/tag2.xml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tags" Target="../tags/tag3.xml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tags" Target="../tags/tag4.xml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5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fontAlgn="base"/>
            <a:r>
              <a:rPr lang="zh-CN" altLang="en-US" sz="1950" strike="noStrike" noProof="1"/>
              <a:t>单击此处编辑母版副标题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pull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>
            <p:custDataLst>
              <p:tags r:id="rId2"/>
            </p:custDataLst>
          </p:nvPr>
        </p:nvCxnSpPr>
        <p:spPr>
          <a:xfrm>
            <a:off x="3348038" y="1136650"/>
            <a:ext cx="232886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Calibri" panose="020F050202020403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fontAlgn="base"/>
            <a:r>
              <a:rPr lang="en-US" strike="noStrike" noProof="1"/>
              <a:t>Click to edit Master subtitle style</a:t>
            </a:r>
            <a:endParaRPr lang="en-US" strike="noStrike" noProof="1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Calibri" panose="020F0502020204030204" charset="0"/>
              </a:defRPr>
            </a:lvl1pPr>
          </a:lstStyle>
          <a:p>
            <a:pPr fontAlgn="auto"/>
            <a:r>
              <a:rPr lang="en-US" strike="noStrike" noProof="1"/>
              <a:t>Click to edit Master title style</a:t>
            </a:r>
            <a:endParaRPr lang="en-US" strike="noStrike" noProof="1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6600825" y="6356350"/>
            <a:ext cx="2057400" cy="365125"/>
          </a:xfrm>
        </p:spPr>
        <p:txBody>
          <a:bodyPr/>
          <a:lstStyle>
            <a:lvl1pPr>
              <a:defRPr smtClean="0"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PRESENTER NAME</a:t>
            </a:r>
            <a:endParaRPr lang="en-US" strike="noStrike" noProof="1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COMPANY NAME</a:t>
            </a:r>
            <a:endParaRPr lang="en-US" strike="noStrike" noProof="1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2125" y="6356350"/>
            <a:ext cx="20574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fld id="{F48E0761-9AB1-4B52-8AC2-06AE6492B74A}" type="slidenum"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</a:fld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|</a:t>
            </a:r>
            <a:endParaRPr lang="en-US" strike="noStrike" noProof="1"/>
          </a:p>
        </p:txBody>
      </p:sp>
    </p:spTree>
  </p:cSld>
  <p:clrMapOvr>
    <a:masterClrMapping/>
  </p:clrMapOvr>
  <p:transition>
    <p:random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5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fontAlgn="base"/>
            <a:r>
              <a:rPr lang="zh-CN" altLang="en-US" sz="1950" strike="noStrike" noProof="1"/>
              <a:t>单击此处编辑母版副标题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7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7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5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fontAlgn="base"/>
            <a:r>
              <a:rPr lang="zh-CN" altLang="en-US" sz="1950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90081" y="1778438"/>
            <a:ext cx="3655181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90081" y="2665379"/>
            <a:ext cx="3655181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92703" y="1778438"/>
            <a:ext cx="3673182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92703" y="2665379"/>
            <a:ext cx="3673182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z="2275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z="1950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z="1625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z="1625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40"/>
            </a:lvl2pPr>
            <a:lvl3pPr marL="742950" indent="0">
              <a:buNone/>
              <a:defRPr sz="975"/>
            </a:lvl3pPr>
            <a:lvl4pPr marL="1114425" indent="0">
              <a:buNone/>
              <a:defRPr sz="815"/>
            </a:lvl4pPr>
            <a:lvl5pPr marL="1485900" indent="0">
              <a:buNone/>
              <a:defRPr sz="815"/>
            </a:lvl5pPr>
            <a:lvl6pPr marL="1857375" indent="0">
              <a:buNone/>
              <a:defRPr sz="815"/>
            </a:lvl6pPr>
            <a:lvl7pPr marL="2228850" indent="0">
              <a:buNone/>
              <a:defRPr sz="815"/>
            </a:lvl7pPr>
            <a:lvl8pPr marL="2600325" indent="0">
              <a:buNone/>
              <a:defRPr sz="815"/>
            </a:lvl8pPr>
            <a:lvl9pPr marL="2971800" indent="0">
              <a:buNone/>
              <a:defRPr sz="81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3124012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457201"/>
            <a:ext cx="4629150" cy="5403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pPr fontAlgn="base"/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3124012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5"/>
            </a:lvl1pPr>
            <a:lvl2pPr marL="371475" indent="0">
              <a:buNone/>
              <a:defRPr sz="1465"/>
            </a:lvl2pPr>
            <a:lvl3pPr marL="742950" indent="0">
              <a:buNone/>
              <a:defRPr sz="1300"/>
            </a:lvl3pPr>
            <a:lvl4pPr marL="1114425" indent="0">
              <a:buNone/>
              <a:defRPr sz="1140"/>
            </a:lvl4pPr>
            <a:lvl5pPr marL="1485900" indent="0">
              <a:buNone/>
              <a:defRPr sz="1140"/>
            </a:lvl5pPr>
            <a:lvl6pPr marL="1857375" indent="0">
              <a:buNone/>
              <a:defRPr sz="1140"/>
            </a:lvl6pPr>
            <a:lvl7pPr marL="2228850" indent="0">
              <a:buNone/>
              <a:defRPr sz="1140"/>
            </a:lvl7pPr>
            <a:lvl8pPr marL="2600325" indent="0">
              <a:buNone/>
              <a:defRPr sz="1140"/>
            </a:lvl8pPr>
            <a:lvl9pPr marL="2971800" indent="0">
              <a:buNone/>
              <a:defRPr sz="1140"/>
            </a:lvl9pPr>
          </a:lstStyle>
          <a:p>
            <a:pPr lvl="0" fontAlgn="base"/>
            <a:r>
              <a:rPr lang="zh-CN" altLang="en-US" sz="1625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pull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>
            <p:custDataLst>
              <p:tags r:id="rId2"/>
            </p:custDataLst>
          </p:nvPr>
        </p:nvCxnSpPr>
        <p:spPr>
          <a:xfrm>
            <a:off x="3348038" y="1136650"/>
            <a:ext cx="232886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Calibri" panose="020F050202020403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fontAlgn="base"/>
            <a:r>
              <a:rPr lang="en-US" strike="noStrike" noProof="1"/>
              <a:t>Click to edit Master subtitle style</a:t>
            </a:r>
            <a:endParaRPr lang="en-US" strike="noStrike" noProof="1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Calibri" panose="020F0502020204030204" charset="0"/>
              </a:defRPr>
            </a:lvl1pPr>
          </a:lstStyle>
          <a:p>
            <a:pPr fontAlgn="auto"/>
            <a:r>
              <a:rPr lang="en-US" strike="noStrike" noProof="1"/>
              <a:t>Click to edit Master title style</a:t>
            </a:r>
            <a:endParaRPr lang="en-US" strike="noStrike" noProof="1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6600825" y="6356350"/>
            <a:ext cx="2057400" cy="365125"/>
          </a:xfrm>
        </p:spPr>
        <p:txBody>
          <a:bodyPr/>
          <a:lstStyle>
            <a:lvl1pPr>
              <a:defRPr smtClean="0"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PRESENTER NAME</a:t>
            </a:r>
            <a:endParaRPr lang="en-US" strike="noStrike" noProof="1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COMPANY NAME</a:t>
            </a:r>
            <a:endParaRPr lang="en-US" strike="noStrike" noProof="1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2125" y="6356350"/>
            <a:ext cx="20574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fld id="{F48E0761-9AB1-4B52-8AC2-06AE6492B74A}" type="slidenum"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</a:fld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|</a:t>
            </a:r>
            <a:endParaRPr lang="en-US" strike="noStrike" noProof="1"/>
          </a:p>
        </p:txBody>
      </p:sp>
    </p:spTree>
  </p:cSld>
  <p:clrMapOvr>
    <a:masterClrMapping/>
  </p:clrMapOvr>
  <p:transition>
    <p:random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5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fontAlgn="base"/>
            <a:r>
              <a:rPr lang="zh-CN" altLang="en-US" sz="1950" strike="noStrike" noProof="1"/>
              <a:t>单击此处编辑母版副标题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7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7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5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fontAlgn="base"/>
            <a:r>
              <a:rPr lang="zh-CN" altLang="en-US" sz="1950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7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7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5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fontAlgn="base"/>
            <a:r>
              <a:rPr lang="zh-CN" altLang="en-US" sz="1950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90081" y="1778438"/>
            <a:ext cx="3655181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90081" y="2665379"/>
            <a:ext cx="3655181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92703" y="1778438"/>
            <a:ext cx="3673182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92703" y="2665379"/>
            <a:ext cx="3673182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z="2275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z="1950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z="1625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z="1625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40"/>
            </a:lvl2pPr>
            <a:lvl3pPr marL="742950" indent="0">
              <a:buNone/>
              <a:defRPr sz="975"/>
            </a:lvl3pPr>
            <a:lvl4pPr marL="1114425" indent="0">
              <a:buNone/>
              <a:defRPr sz="815"/>
            </a:lvl4pPr>
            <a:lvl5pPr marL="1485900" indent="0">
              <a:buNone/>
              <a:defRPr sz="815"/>
            </a:lvl5pPr>
            <a:lvl6pPr marL="1857375" indent="0">
              <a:buNone/>
              <a:defRPr sz="815"/>
            </a:lvl6pPr>
            <a:lvl7pPr marL="2228850" indent="0">
              <a:buNone/>
              <a:defRPr sz="815"/>
            </a:lvl7pPr>
            <a:lvl8pPr marL="2600325" indent="0">
              <a:buNone/>
              <a:defRPr sz="815"/>
            </a:lvl8pPr>
            <a:lvl9pPr marL="2971800" indent="0">
              <a:buNone/>
              <a:defRPr sz="81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3124012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457201"/>
            <a:ext cx="4629150" cy="5403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pPr fontAlgn="base"/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3124012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5"/>
            </a:lvl1pPr>
            <a:lvl2pPr marL="371475" indent="0">
              <a:buNone/>
              <a:defRPr sz="1465"/>
            </a:lvl2pPr>
            <a:lvl3pPr marL="742950" indent="0">
              <a:buNone/>
              <a:defRPr sz="1300"/>
            </a:lvl3pPr>
            <a:lvl4pPr marL="1114425" indent="0">
              <a:buNone/>
              <a:defRPr sz="1140"/>
            </a:lvl4pPr>
            <a:lvl5pPr marL="1485900" indent="0">
              <a:buNone/>
              <a:defRPr sz="1140"/>
            </a:lvl5pPr>
            <a:lvl6pPr marL="1857375" indent="0">
              <a:buNone/>
              <a:defRPr sz="1140"/>
            </a:lvl6pPr>
            <a:lvl7pPr marL="2228850" indent="0">
              <a:buNone/>
              <a:defRPr sz="1140"/>
            </a:lvl7pPr>
            <a:lvl8pPr marL="2600325" indent="0">
              <a:buNone/>
              <a:defRPr sz="1140"/>
            </a:lvl8pPr>
            <a:lvl9pPr marL="2971800" indent="0">
              <a:buNone/>
              <a:defRPr sz="1140"/>
            </a:lvl9pPr>
          </a:lstStyle>
          <a:p>
            <a:pPr lvl="0" fontAlgn="base"/>
            <a:r>
              <a:rPr lang="zh-CN" altLang="en-US" sz="1625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pull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>
            <p:custDataLst>
              <p:tags r:id="rId2"/>
            </p:custDataLst>
          </p:nvPr>
        </p:nvCxnSpPr>
        <p:spPr>
          <a:xfrm>
            <a:off x="3348038" y="1136650"/>
            <a:ext cx="232886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Calibri" panose="020F050202020403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fontAlgn="base"/>
            <a:r>
              <a:rPr lang="en-US" strike="noStrike" noProof="1"/>
              <a:t>Click to edit Master subtitle style</a:t>
            </a:r>
            <a:endParaRPr lang="en-US" strike="noStrike" noProof="1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Calibri" panose="020F0502020204030204" charset="0"/>
              </a:defRPr>
            </a:lvl1pPr>
          </a:lstStyle>
          <a:p>
            <a:pPr fontAlgn="auto"/>
            <a:r>
              <a:rPr lang="en-US" strike="noStrike" noProof="1"/>
              <a:t>Click to edit Master title style</a:t>
            </a:r>
            <a:endParaRPr lang="en-US" strike="noStrike" noProof="1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6600825" y="6356350"/>
            <a:ext cx="2057400" cy="365125"/>
          </a:xfrm>
        </p:spPr>
        <p:txBody>
          <a:bodyPr/>
          <a:lstStyle>
            <a:lvl1pPr>
              <a:defRPr smtClean="0"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PRESENTER NAME</a:t>
            </a:r>
            <a:endParaRPr lang="en-US" strike="noStrike" noProof="1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COMPANY NAME</a:t>
            </a:r>
            <a:endParaRPr lang="en-US" strike="noStrike" noProof="1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2125" y="6356350"/>
            <a:ext cx="20574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fld id="{F48E0761-9AB1-4B52-8AC2-06AE6492B74A}" type="slidenum"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</a:fld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|</a:t>
            </a:r>
            <a:endParaRPr lang="en-US" strike="noStrike" noProof="1"/>
          </a:p>
        </p:txBody>
      </p:sp>
    </p:spTree>
  </p:cSld>
  <p:clrMapOvr>
    <a:masterClrMapping/>
  </p:clrMapOvr>
  <p:transition>
    <p:random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5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fontAlgn="base"/>
            <a:r>
              <a:rPr lang="zh-CN" altLang="en-US" sz="1950" strike="noStrike" noProof="1"/>
              <a:t>单击此处编辑母版副标题样式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7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7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5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fontAlgn="base"/>
            <a:r>
              <a:rPr lang="zh-CN" altLang="en-US" sz="1950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90081" y="1778438"/>
            <a:ext cx="3655181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90081" y="2665379"/>
            <a:ext cx="3655181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92703" y="1778438"/>
            <a:ext cx="3673182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92703" y="2665379"/>
            <a:ext cx="3673182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sldNum="0"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z="2275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z="1950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z="1625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z="1625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40"/>
            </a:lvl2pPr>
            <a:lvl3pPr marL="742950" indent="0">
              <a:buNone/>
              <a:defRPr sz="975"/>
            </a:lvl3pPr>
            <a:lvl4pPr marL="1114425" indent="0">
              <a:buNone/>
              <a:defRPr sz="815"/>
            </a:lvl4pPr>
            <a:lvl5pPr marL="1485900" indent="0">
              <a:buNone/>
              <a:defRPr sz="815"/>
            </a:lvl5pPr>
            <a:lvl6pPr marL="1857375" indent="0">
              <a:buNone/>
              <a:defRPr sz="815"/>
            </a:lvl6pPr>
            <a:lvl7pPr marL="2228850" indent="0">
              <a:buNone/>
              <a:defRPr sz="815"/>
            </a:lvl7pPr>
            <a:lvl8pPr marL="2600325" indent="0">
              <a:buNone/>
              <a:defRPr sz="815"/>
            </a:lvl8pPr>
            <a:lvl9pPr marL="2971800" indent="0">
              <a:buNone/>
              <a:defRPr sz="81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3124012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457201"/>
            <a:ext cx="4629150" cy="5403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pPr fontAlgn="base"/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3124012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5"/>
            </a:lvl1pPr>
            <a:lvl2pPr marL="371475" indent="0">
              <a:buNone/>
              <a:defRPr sz="1465"/>
            </a:lvl2pPr>
            <a:lvl3pPr marL="742950" indent="0">
              <a:buNone/>
              <a:defRPr sz="1300"/>
            </a:lvl3pPr>
            <a:lvl4pPr marL="1114425" indent="0">
              <a:buNone/>
              <a:defRPr sz="1140"/>
            </a:lvl4pPr>
            <a:lvl5pPr marL="1485900" indent="0">
              <a:buNone/>
              <a:defRPr sz="1140"/>
            </a:lvl5pPr>
            <a:lvl6pPr marL="1857375" indent="0">
              <a:buNone/>
              <a:defRPr sz="1140"/>
            </a:lvl6pPr>
            <a:lvl7pPr marL="2228850" indent="0">
              <a:buNone/>
              <a:defRPr sz="1140"/>
            </a:lvl7pPr>
            <a:lvl8pPr marL="2600325" indent="0">
              <a:buNone/>
              <a:defRPr sz="1140"/>
            </a:lvl8pPr>
            <a:lvl9pPr marL="2971800" indent="0">
              <a:buNone/>
              <a:defRPr sz="1140"/>
            </a:lvl9pPr>
          </a:lstStyle>
          <a:p>
            <a:pPr lvl="0" fontAlgn="base"/>
            <a:r>
              <a:rPr lang="zh-CN" altLang="en-US" sz="1625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90081" y="1778438"/>
            <a:ext cx="3655181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90081" y="2665379"/>
            <a:ext cx="3655181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92703" y="1778438"/>
            <a:ext cx="3673182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92703" y="2665379"/>
            <a:ext cx="3673182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直接连接符 4"/>
          <p:cNvCxnSpPr/>
          <p:nvPr userDrawn="1"/>
        </p:nvCxnSpPr>
        <p:spPr>
          <a:xfrm flipV="1">
            <a:off x="6515735" y="4633595"/>
            <a:ext cx="1306830" cy="2224405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接连接符 5"/>
          <p:cNvCxnSpPr/>
          <p:nvPr userDrawn="1"/>
        </p:nvCxnSpPr>
        <p:spPr>
          <a:xfrm flipV="1">
            <a:off x="7968615" y="3861435"/>
            <a:ext cx="1067435" cy="1918335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 userDrawn="1"/>
        </p:nvCxnSpPr>
        <p:spPr>
          <a:xfrm flipV="1">
            <a:off x="0" y="1055370"/>
            <a:ext cx="1180465" cy="2013585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 userDrawn="1"/>
        </p:nvCxnSpPr>
        <p:spPr>
          <a:xfrm flipV="1">
            <a:off x="1186948" y="1"/>
            <a:ext cx="1493996" cy="2539377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 userDrawn="1"/>
        </p:nvCxnSpPr>
        <p:spPr>
          <a:xfrm flipV="1">
            <a:off x="8100060" y="5301615"/>
            <a:ext cx="935990" cy="1556385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 userDrawn="1"/>
        </p:nvCxnSpPr>
        <p:spPr>
          <a:xfrm flipV="1">
            <a:off x="0" y="260985"/>
            <a:ext cx="683260" cy="119888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pull/>
  </p:transition>
  <p:hf sldNum="0"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>
            <p:custDataLst>
              <p:tags r:id="rId2"/>
            </p:custDataLst>
          </p:nvPr>
        </p:nvCxnSpPr>
        <p:spPr>
          <a:xfrm>
            <a:off x="3348038" y="1136650"/>
            <a:ext cx="232886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Calibri" panose="020F050202020403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fontAlgn="base"/>
            <a:r>
              <a:rPr lang="en-US" strike="noStrike" noProof="1"/>
              <a:t>Click to edit Master subtitle style</a:t>
            </a:r>
            <a:endParaRPr lang="en-US" strike="noStrike" noProof="1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Calibri" panose="020F0502020204030204" charset="0"/>
              </a:defRPr>
            </a:lvl1pPr>
          </a:lstStyle>
          <a:p>
            <a:pPr fontAlgn="auto"/>
            <a:r>
              <a:rPr lang="en-US" strike="noStrike" noProof="1"/>
              <a:t>Click to edit Master title style</a:t>
            </a:r>
            <a:endParaRPr lang="en-US" strike="noStrike" noProof="1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6600825" y="6356350"/>
            <a:ext cx="2057400" cy="365125"/>
          </a:xfrm>
        </p:spPr>
        <p:txBody>
          <a:bodyPr/>
          <a:lstStyle>
            <a:lvl1pPr>
              <a:defRPr smtClean="0"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PRESENTER NAME</a:t>
            </a:r>
            <a:endParaRPr lang="en-US" strike="noStrike" noProof="1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COMPANY NAME</a:t>
            </a:r>
            <a:endParaRPr lang="en-US" strike="noStrike" noProof="1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2125" y="6356350"/>
            <a:ext cx="20574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fld id="{F48E0761-9AB1-4B52-8AC2-06AE6492B74A}" type="slidenum"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</a:fld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|</a:t>
            </a:r>
            <a:endParaRPr lang="en-US" strike="noStrike" noProof="1"/>
          </a:p>
        </p:txBody>
      </p:sp>
    </p:spTree>
  </p:cSld>
  <p:clrMapOvr>
    <a:masterClrMapping/>
  </p:clrMapOvr>
  <p:transition>
    <p:random/>
  </p:transition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z="2275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z="1950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z="1625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z="1625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40"/>
            </a:lvl2pPr>
            <a:lvl3pPr marL="742950" indent="0">
              <a:buNone/>
              <a:defRPr sz="975"/>
            </a:lvl3pPr>
            <a:lvl4pPr marL="1114425" indent="0">
              <a:buNone/>
              <a:defRPr sz="815"/>
            </a:lvl4pPr>
            <a:lvl5pPr marL="1485900" indent="0">
              <a:buNone/>
              <a:defRPr sz="815"/>
            </a:lvl5pPr>
            <a:lvl6pPr marL="1857375" indent="0">
              <a:buNone/>
              <a:defRPr sz="815"/>
            </a:lvl6pPr>
            <a:lvl7pPr marL="2228850" indent="0">
              <a:buNone/>
              <a:defRPr sz="815"/>
            </a:lvl7pPr>
            <a:lvl8pPr marL="2600325" indent="0">
              <a:buNone/>
              <a:defRPr sz="815"/>
            </a:lvl8pPr>
            <a:lvl9pPr marL="2971800" indent="0">
              <a:buNone/>
              <a:defRPr sz="81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3124012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457201"/>
            <a:ext cx="4629150" cy="5403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pPr fontAlgn="base"/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3124012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5"/>
            </a:lvl1pPr>
            <a:lvl2pPr marL="371475" indent="0">
              <a:buNone/>
              <a:defRPr sz="1465"/>
            </a:lvl2pPr>
            <a:lvl3pPr marL="742950" indent="0">
              <a:buNone/>
              <a:defRPr sz="1300"/>
            </a:lvl3pPr>
            <a:lvl4pPr marL="1114425" indent="0">
              <a:buNone/>
              <a:defRPr sz="1140"/>
            </a:lvl4pPr>
            <a:lvl5pPr marL="1485900" indent="0">
              <a:buNone/>
              <a:defRPr sz="1140"/>
            </a:lvl5pPr>
            <a:lvl6pPr marL="1857375" indent="0">
              <a:buNone/>
              <a:defRPr sz="1140"/>
            </a:lvl6pPr>
            <a:lvl7pPr marL="2228850" indent="0">
              <a:buNone/>
              <a:defRPr sz="1140"/>
            </a:lvl7pPr>
            <a:lvl8pPr marL="2600325" indent="0">
              <a:buNone/>
              <a:defRPr sz="1140"/>
            </a:lvl8pPr>
            <a:lvl9pPr marL="2971800" indent="0">
              <a:buNone/>
              <a:defRPr sz="1140"/>
            </a:lvl9pPr>
          </a:lstStyle>
          <a:p>
            <a:pPr lvl="0" fontAlgn="base"/>
            <a:r>
              <a:rPr lang="zh-CN" altLang="en-US" sz="1625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7" Type="http://schemas.openxmlformats.org/officeDocument/2006/relationships/theme" Target="../theme/theme1.xml"/><Relationship Id="rId16" Type="http://schemas.openxmlformats.org/officeDocument/2006/relationships/image" Target="../media/image3.jpeg"/><Relationship Id="rId15" Type="http://schemas.openxmlformats.org/officeDocument/2006/relationships/image" Target="../media/image2.jpeg"/><Relationship Id="rId14" Type="http://schemas.openxmlformats.org/officeDocument/2006/relationships/image" Target="../media/image1.jpeg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2.xml"/><Relationship Id="rId8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0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7" Type="http://schemas.openxmlformats.org/officeDocument/2006/relationships/theme" Target="../theme/theme2.xml"/><Relationship Id="rId16" Type="http://schemas.openxmlformats.org/officeDocument/2006/relationships/image" Target="../media/image3.jpeg"/><Relationship Id="rId15" Type="http://schemas.openxmlformats.org/officeDocument/2006/relationships/image" Target="../media/image2.jpeg"/><Relationship Id="rId14" Type="http://schemas.openxmlformats.org/officeDocument/2006/relationships/image" Target="../media/image1.jpeg"/><Relationship Id="rId13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3.xml"/><Relationship Id="rId1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5.xml"/><Relationship Id="rId8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8.xml"/><Relationship Id="rId17" Type="http://schemas.openxmlformats.org/officeDocument/2006/relationships/theme" Target="../theme/theme3.xml"/><Relationship Id="rId16" Type="http://schemas.openxmlformats.org/officeDocument/2006/relationships/image" Target="../media/image3.jpeg"/><Relationship Id="rId15" Type="http://schemas.openxmlformats.org/officeDocument/2006/relationships/image" Target="../media/image2.jpeg"/><Relationship Id="rId14" Type="http://schemas.openxmlformats.org/officeDocument/2006/relationships/image" Target="../media/image1.jpeg"/><Relationship Id="rId13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6.xml"/><Relationship Id="rId1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8.xml"/><Relationship Id="rId8" Type="http://schemas.openxmlformats.org/officeDocument/2006/relationships/slideLayout" Target="../slideLayouts/slideLayout47.xml"/><Relationship Id="rId7" Type="http://schemas.openxmlformats.org/officeDocument/2006/relationships/slideLayout" Target="../slideLayouts/slideLayout46.xml"/><Relationship Id="rId6" Type="http://schemas.openxmlformats.org/officeDocument/2006/relationships/slideLayout" Target="../slideLayouts/slideLayout45.xml"/><Relationship Id="rId5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3.xml"/><Relationship Id="rId3" Type="http://schemas.openxmlformats.org/officeDocument/2006/relationships/slideLayout" Target="../slideLayouts/slideLayout42.xml"/><Relationship Id="rId2" Type="http://schemas.openxmlformats.org/officeDocument/2006/relationships/slideLayout" Target="../slideLayouts/slideLayout41.xml"/><Relationship Id="rId17" Type="http://schemas.openxmlformats.org/officeDocument/2006/relationships/theme" Target="../theme/theme4.xml"/><Relationship Id="rId16" Type="http://schemas.openxmlformats.org/officeDocument/2006/relationships/image" Target="../media/image3.jpeg"/><Relationship Id="rId15" Type="http://schemas.openxmlformats.org/officeDocument/2006/relationships/image" Target="../media/image2.jpeg"/><Relationship Id="rId14" Type="http://schemas.openxmlformats.org/officeDocument/2006/relationships/image" Target="../media/image1.jpeg"/><Relationship Id="rId13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图片 3" descr="横条.jp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0" y="622300"/>
            <a:ext cx="9144000" cy="539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27" name="TextBox 5"/>
          <p:cNvSpPr/>
          <p:nvPr/>
        </p:nvSpPr>
        <p:spPr>
          <a:xfrm>
            <a:off x="6854825" y="303213"/>
            <a:ext cx="2293938" cy="288925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lstStyle/>
          <a:p>
            <a:pPr lvl="0" algn="ctr" fontAlgn="base">
              <a:lnSpc>
                <a:spcPct val="100000"/>
              </a:lnSpc>
            </a:pPr>
            <a:r>
              <a:rPr lang="zh-CN" altLang="en-US" sz="1290" strike="noStrike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  <a:sym typeface="微软雅黑" panose="020B0503020204020204" charset="-122"/>
              </a:rPr>
              <a:t>诚信赢得天下   科技成就未来</a:t>
            </a:r>
            <a:endParaRPr lang="zh-CN" altLang="en-US" sz="1290" strike="noStrike" noProof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pic>
        <p:nvPicPr>
          <p:cNvPr id="2052" name="图片 7" descr="海阔天空.jp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0" y="666750"/>
            <a:ext cx="9144000" cy="619125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2053" name="图片 1" descr="荣昌标副本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0" y="22225"/>
            <a:ext cx="3032125" cy="542925"/>
          </a:xfrm>
          <a:prstGeom prst="rect">
            <a:avLst/>
          </a:prstGeom>
          <a:noFill/>
          <a:ln w="9525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sldNum="0" hdr="0" ftr="0" dt="0"/>
  <p:txStyles>
    <p:titleStyle>
      <a:lvl1pPr marL="0" lvl="0" indent="0" algn="l" eaLnBrk="0" latinLnBrk="0" hangingPunct="0">
        <a:lnSpc>
          <a:spcPct val="100000"/>
        </a:lnSpc>
        <a:spcBef>
          <a:spcPct val="0"/>
        </a:spcBef>
        <a:spcAft>
          <a:spcPct val="0"/>
        </a:spcAft>
        <a:buNone/>
        <a:defRPr sz="2800" kern="1200">
          <a:solidFill>
            <a:schemeClr val="tx2"/>
          </a:solidFill>
          <a:latin typeface="+mj-lt"/>
          <a:ea typeface="+mj-ea"/>
          <a:cs typeface="+mj-cs"/>
          <a:sym typeface="Verdana" panose="020B0604030504040204" charset="0"/>
        </a:defRPr>
      </a:lvl1pPr>
    </p:titleStyle>
    <p:bodyStyle>
      <a:lvl1pPr marL="469900" lvl="0" indent="-46990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1pPr>
      <a:lvl2pPr marL="908050" lvl="1" indent="-436245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2pPr>
      <a:lvl3pPr marL="1304925" lvl="2" indent="-39497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3pPr>
      <a:lvl4pPr marL="1694180" lvl="3" indent="-38608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4pPr>
      <a:lvl5pPr marL="2094230" lvl="4" indent="-39878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5pPr>
      <a:lvl6pPr marL="2514600" lvl="5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6pPr>
      <a:lvl7pPr marL="2971800" lvl="6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7pPr>
      <a:lvl8pPr marL="3429000" lvl="7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8pPr>
      <a:lvl9pPr marL="3886200" lvl="8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9pPr>
    </p:bodyStyle>
    <p:otherStyle>
      <a:lvl1pPr lvl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1pPr>
      <a:lvl2pPr marL="457200" lvl="1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2pPr>
      <a:lvl3pPr marL="914400" lvl="2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3pPr>
      <a:lvl4pPr marL="1371600" lvl="3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4pPr>
      <a:lvl5pPr marL="1828800" lvl="4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5pPr>
      <a:lvl6pPr marL="2286000" lvl="5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6pPr>
      <a:lvl7pPr marL="2743200" lvl="6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7pPr>
      <a:lvl8pPr marL="3200400" lvl="7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8pPr>
      <a:lvl9pPr marL="3657600" lvl="8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图片 3" descr="横条.jp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0" y="622300"/>
            <a:ext cx="9144000" cy="539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27" name="TextBox 5"/>
          <p:cNvSpPr/>
          <p:nvPr/>
        </p:nvSpPr>
        <p:spPr>
          <a:xfrm>
            <a:off x="6854825" y="303213"/>
            <a:ext cx="2293938" cy="288925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lstStyle/>
          <a:p>
            <a:pPr lvl="0" algn="ctr" fontAlgn="base">
              <a:lnSpc>
                <a:spcPct val="100000"/>
              </a:lnSpc>
            </a:pPr>
            <a:r>
              <a:rPr lang="zh-CN" altLang="en-US" sz="1290" strike="noStrike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  <a:sym typeface="微软雅黑" panose="020B0503020204020204" charset="-122"/>
              </a:rPr>
              <a:t>诚信赢得天下   科技成就未来</a:t>
            </a:r>
            <a:endParaRPr lang="zh-CN" altLang="en-US" sz="1290" strike="noStrike" noProof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pic>
        <p:nvPicPr>
          <p:cNvPr id="3076" name="图片 7" descr="海阔天空.jp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0" y="666750"/>
            <a:ext cx="9144000" cy="619125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077" name="图片 1" descr="荣昌标副本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0" y="22225"/>
            <a:ext cx="3032125" cy="542925"/>
          </a:xfrm>
          <a:prstGeom prst="rect">
            <a:avLst/>
          </a:prstGeom>
          <a:noFill/>
          <a:ln w="9525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sldNum="0" hdr="0" ftr="0" dt="0"/>
  <p:txStyles>
    <p:titleStyle>
      <a:lvl1pPr marL="0" lvl="0" indent="0" algn="l" eaLnBrk="0" latinLnBrk="0" hangingPunct="0">
        <a:lnSpc>
          <a:spcPct val="100000"/>
        </a:lnSpc>
        <a:spcBef>
          <a:spcPct val="0"/>
        </a:spcBef>
        <a:spcAft>
          <a:spcPct val="0"/>
        </a:spcAft>
        <a:buNone/>
        <a:defRPr sz="2800" kern="1200">
          <a:solidFill>
            <a:schemeClr val="tx2"/>
          </a:solidFill>
          <a:latin typeface="+mj-lt"/>
          <a:ea typeface="+mj-ea"/>
          <a:cs typeface="+mj-cs"/>
          <a:sym typeface="Verdana" panose="020B0604030504040204" charset="0"/>
        </a:defRPr>
      </a:lvl1pPr>
    </p:titleStyle>
    <p:bodyStyle>
      <a:lvl1pPr marL="469900" lvl="0" indent="-46990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1pPr>
      <a:lvl2pPr marL="908050" lvl="1" indent="-436245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2pPr>
      <a:lvl3pPr marL="1304925" lvl="2" indent="-39497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3pPr>
      <a:lvl4pPr marL="1694180" lvl="3" indent="-38608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4pPr>
      <a:lvl5pPr marL="2094230" lvl="4" indent="-39878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5pPr>
      <a:lvl6pPr marL="2514600" lvl="5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6pPr>
      <a:lvl7pPr marL="2971800" lvl="6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7pPr>
      <a:lvl8pPr marL="3429000" lvl="7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8pPr>
      <a:lvl9pPr marL="3886200" lvl="8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9pPr>
    </p:bodyStyle>
    <p:otherStyle>
      <a:lvl1pPr lvl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1pPr>
      <a:lvl2pPr marL="457200" lvl="1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2pPr>
      <a:lvl3pPr marL="914400" lvl="2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3pPr>
      <a:lvl4pPr marL="1371600" lvl="3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4pPr>
      <a:lvl5pPr marL="1828800" lvl="4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5pPr>
      <a:lvl6pPr marL="2286000" lvl="5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6pPr>
      <a:lvl7pPr marL="2743200" lvl="6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7pPr>
      <a:lvl8pPr marL="3200400" lvl="7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8pPr>
      <a:lvl9pPr marL="3657600" lvl="8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图片 3" descr="横条.jp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0" y="622300"/>
            <a:ext cx="9144000" cy="539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27" name="TextBox 5"/>
          <p:cNvSpPr/>
          <p:nvPr/>
        </p:nvSpPr>
        <p:spPr>
          <a:xfrm>
            <a:off x="6854825" y="303213"/>
            <a:ext cx="2293938" cy="288925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lstStyle/>
          <a:p>
            <a:pPr lvl="0" algn="ctr" fontAlgn="base">
              <a:lnSpc>
                <a:spcPct val="100000"/>
              </a:lnSpc>
            </a:pPr>
            <a:r>
              <a:rPr lang="zh-CN" altLang="en-US" sz="1290" strike="noStrike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  <a:sym typeface="微软雅黑" panose="020B0503020204020204" charset="-122"/>
              </a:rPr>
              <a:t>诚信赢得天下   科技成就未来</a:t>
            </a:r>
            <a:endParaRPr lang="zh-CN" altLang="en-US" sz="1290" strike="noStrike" noProof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pic>
        <p:nvPicPr>
          <p:cNvPr id="4100" name="图片 7" descr="海阔天空.jp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0" y="666750"/>
            <a:ext cx="9144000" cy="619125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4101" name="图片 1" descr="荣昌标副本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0" y="22225"/>
            <a:ext cx="3032125" cy="542925"/>
          </a:xfrm>
          <a:prstGeom prst="rect">
            <a:avLst/>
          </a:prstGeom>
          <a:noFill/>
          <a:ln w="9525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</p:sldLayoutIdLst>
  <p:hf sldNum="0" hdr="0" ftr="0" dt="0"/>
  <p:txStyles>
    <p:titleStyle>
      <a:lvl1pPr marL="0" lvl="0" indent="0" algn="l" eaLnBrk="0" latinLnBrk="0" hangingPunct="0">
        <a:lnSpc>
          <a:spcPct val="100000"/>
        </a:lnSpc>
        <a:spcBef>
          <a:spcPct val="0"/>
        </a:spcBef>
        <a:spcAft>
          <a:spcPct val="0"/>
        </a:spcAft>
        <a:buNone/>
        <a:defRPr sz="2800" kern="1200">
          <a:solidFill>
            <a:schemeClr val="tx2"/>
          </a:solidFill>
          <a:latin typeface="+mj-lt"/>
          <a:ea typeface="+mj-ea"/>
          <a:cs typeface="+mj-cs"/>
          <a:sym typeface="Verdana" panose="020B0604030504040204" charset="0"/>
        </a:defRPr>
      </a:lvl1pPr>
    </p:titleStyle>
    <p:bodyStyle>
      <a:lvl1pPr marL="469900" lvl="0" indent="-46990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1pPr>
      <a:lvl2pPr marL="908050" lvl="1" indent="-436245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2pPr>
      <a:lvl3pPr marL="1304925" lvl="2" indent="-39497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3pPr>
      <a:lvl4pPr marL="1694180" lvl="3" indent="-38608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4pPr>
      <a:lvl5pPr marL="2094230" lvl="4" indent="-39878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5pPr>
      <a:lvl6pPr marL="2514600" lvl="5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6pPr>
      <a:lvl7pPr marL="2971800" lvl="6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7pPr>
      <a:lvl8pPr marL="3429000" lvl="7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8pPr>
      <a:lvl9pPr marL="3886200" lvl="8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9pPr>
    </p:bodyStyle>
    <p:otherStyle>
      <a:lvl1pPr lvl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1pPr>
      <a:lvl2pPr marL="457200" lvl="1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2pPr>
      <a:lvl3pPr marL="914400" lvl="2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3pPr>
      <a:lvl4pPr marL="1371600" lvl="3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4pPr>
      <a:lvl5pPr marL="1828800" lvl="4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5pPr>
      <a:lvl6pPr marL="2286000" lvl="5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6pPr>
      <a:lvl7pPr marL="2743200" lvl="6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7pPr>
      <a:lvl8pPr marL="3200400" lvl="7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8pPr>
      <a:lvl9pPr marL="3657600" lvl="8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图片 3" descr="横条.jp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0" y="622300"/>
            <a:ext cx="9144000" cy="539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27" name="TextBox 5"/>
          <p:cNvSpPr/>
          <p:nvPr/>
        </p:nvSpPr>
        <p:spPr>
          <a:xfrm>
            <a:off x="6854825" y="303213"/>
            <a:ext cx="2293938" cy="288925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lstStyle/>
          <a:p>
            <a:pPr lvl="0" algn="ctr" fontAlgn="base">
              <a:lnSpc>
                <a:spcPct val="100000"/>
              </a:lnSpc>
            </a:pPr>
            <a:r>
              <a:rPr lang="zh-CN" altLang="en-US" sz="1290" strike="noStrike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  <a:sym typeface="微软雅黑" panose="020B0503020204020204" charset="-122"/>
              </a:rPr>
              <a:t>诚信赢得天下   科技成就未来</a:t>
            </a:r>
            <a:endParaRPr lang="zh-CN" altLang="en-US" sz="1290" strike="noStrike" noProof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pic>
        <p:nvPicPr>
          <p:cNvPr id="5124" name="图片 7" descr="海阔天空.jp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0" y="666750"/>
            <a:ext cx="9144000" cy="619125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5125" name="图片 1" descr="荣昌标副本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0" y="22225"/>
            <a:ext cx="3032125" cy="54292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031" name="图片 7" descr="海阔天空.jpg"/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9525" y="565150"/>
            <a:ext cx="9099550" cy="624205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32" name="TextBox 5"/>
          <p:cNvSpPr/>
          <p:nvPr userDrawn="1"/>
        </p:nvSpPr>
        <p:spPr>
          <a:xfrm>
            <a:off x="6631464" y="274638"/>
            <a:ext cx="2480310" cy="306705"/>
          </a:xfrm>
          <a:prstGeom prst="rect">
            <a:avLst/>
          </a:prstGeom>
          <a:noFill/>
          <a:ln w="9525">
            <a:noFill/>
          </a:ln>
        </p:spPr>
        <p:txBody>
          <a:bodyPr wrap="none" anchor="t">
            <a:spAutoFit/>
            <a:scene3d>
              <a:camera prst="orthographicFront"/>
              <a:lightRig rig="threePt" dir="t"/>
            </a:scene3d>
          </a:bodyPr>
          <a:lstStyle/>
          <a:p>
            <a:pPr lvl="0" indent="0" algn="ctr"/>
            <a:r>
              <a:rPr lang="zh-CN" altLang="en-US" sz="1400" b="1" dirty="0">
                <a:solidFill>
                  <a:schemeClr val="tx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诚信赢得天下   科技成就未来</a:t>
            </a:r>
            <a:endParaRPr lang="zh-CN" altLang="en-US" sz="1400" b="1" dirty="0">
              <a:solidFill>
                <a:schemeClr val="tx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pic>
        <p:nvPicPr>
          <p:cNvPr id="1033" name="图片 1" descr="荣昌标副本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0" y="22225"/>
            <a:ext cx="3284538" cy="54292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034" name="图片 3" descr="横条.jpg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 flipV="1">
            <a:off x="0" y="546100"/>
            <a:ext cx="9140825" cy="7620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6" name="灯片编号占位符 5"/>
          <p:cNvSpPr>
            <a:spLocks noGrp="1"/>
          </p:cNvSpPr>
          <p:nvPr userDrawn="1"/>
        </p:nvSpPr>
        <p:spPr>
          <a:xfrm>
            <a:off x="6680200" y="6372225"/>
            <a:ext cx="2133600" cy="476250"/>
          </a:xfrm>
          <a:prstGeom prst="rect">
            <a:avLst/>
          </a:prstGeom>
          <a:noFill/>
          <a:ln w="9525">
            <a:noFill/>
          </a:ln>
        </p:spPr>
        <p:txBody>
          <a:bodyPr/>
          <a:lstStyle>
            <a:lvl1pPr marL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lvl="1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lvl="2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lvl="3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lvl="4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lvl="5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lvl="6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lvl="7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lvl="8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lvl="0" fontAlgn="base"/>
            <a:fld id="{9A0DB2DC-4C9A-4742-B13C-FB6460FD3503}" type="slidenum">
              <a:rPr lang="zh-CN" alt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</a:fld>
            <a:r>
              <a:rPr lang="en-US" altLang="zh-CN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/23</a:t>
            </a:r>
            <a:endParaRPr lang="en-US" altLang="zh-CN" strike="noStrike" noProof="1"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</p:sldLayoutIdLst>
  <p:hf sldNum="0" hdr="0" ftr="0" dt="0"/>
  <p:txStyles>
    <p:titleStyle>
      <a:lvl1pPr marL="0" lvl="0" indent="0" algn="l" eaLnBrk="0" latinLnBrk="0" hangingPunct="0">
        <a:lnSpc>
          <a:spcPct val="100000"/>
        </a:lnSpc>
        <a:spcBef>
          <a:spcPct val="0"/>
        </a:spcBef>
        <a:spcAft>
          <a:spcPct val="0"/>
        </a:spcAft>
        <a:buNone/>
        <a:defRPr sz="2800" kern="1200">
          <a:solidFill>
            <a:schemeClr val="tx2"/>
          </a:solidFill>
          <a:latin typeface="+mj-lt"/>
          <a:ea typeface="+mj-ea"/>
          <a:cs typeface="+mj-cs"/>
          <a:sym typeface="Verdana" panose="020B0604030504040204" charset="0"/>
        </a:defRPr>
      </a:lvl1pPr>
    </p:titleStyle>
    <p:bodyStyle>
      <a:lvl1pPr marL="469900" lvl="0" indent="-46990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1pPr>
      <a:lvl2pPr marL="908050" lvl="1" indent="-436245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2pPr>
      <a:lvl3pPr marL="1304925" lvl="2" indent="-39497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3pPr>
      <a:lvl4pPr marL="1694180" lvl="3" indent="-38608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4pPr>
      <a:lvl5pPr marL="2094230" lvl="4" indent="-39878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5pPr>
      <a:lvl6pPr marL="2514600" lvl="5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6pPr>
      <a:lvl7pPr marL="2971800" lvl="6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7pPr>
      <a:lvl8pPr marL="3429000" lvl="7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8pPr>
      <a:lvl9pPr marL="3886200" lvl="8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9pPr>
    </p:bodyStyle>
    <p:otherStyle>
      <a:lvl1pPr lvl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1pPr>
      <a:lvl2pPr marL="457200" lvl="1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2pPr>
      <a:lvl3pPr marL="914400" lvl="2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3pPr>
      <a:lvl4pPr marL="1371600" lvl="3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4pPr>
      <a:lvl5pPr marL="1828800" lvl="4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5pPr>
      <a:lvl6pPr marL="2286000" lvl="5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6pPr>
      <a:lvl7pPr marL="2743200" lvl="6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7pPr>
      <a:lvl8pPr marL="3200400" lvl="7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8pPr>
      <a:lvl9pPr marL="3657600" lvl="8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8.xml"/><Relationship Id="rId1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.xml"/><Relationship Id="rId3" Type="http://schemas.openxmlformats.org/officeDocument/2006/relationships/slideLayout" Target="../slideLayouts/slideLayout28.xml"/><Relationship Id="rId2" Type="http://schemas.openxmlformats.org/officeDocument/2006/relationships/image" Target="../media/image7.jpeg"/><Relationship Id="rId1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横卷形 3"/>
          <p:cNvSpPr/>
          <p:nvPr/>
        </p:nvSpPr>
        <p:spPr>
          <a:xfrm>
            <a:off x="635" y="2282825"/>
            <a:ext cx="9143365" cy="2087880"/>
          </a:xfrm>
          <a:prstGeom prst="horizontalScroll">
            <a:avLst/>
          </a:prstGeo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3200" dirty="0">
                <a:solidFill>
                  <a:schemeClr val="bg1"/>
                </a:solidFill>
                <a:latin typeface="Arial" panose="020B0604020202020204" pitchFamily="34" charset="0"/>
                <a:ea typeface="方正兰亭粗黑_GBK"/>
                <a:sym typeface="+mn-ea"/>
              </a:rPr>
              <a:t>TPE(</a:t>
            </a:r>
            <a:r>
              <a:rPr lang="zh-CN" altLang="zh-CN" sz="3200" dirty="0">
                <a:solidFill>
                  <a:schemeClr val="bg1"/>
                </a:solidFill>
                <a:latin typeface="Arial" panose="020B0604020202020204" pitchFamily="34" charset="0"/>
                <a:ea typeface="方正兰亭粗黑_GBK"/>
                <a:sym typeface="+mn-ea"/>
              </a:rPr>
              <a:t>黑</a:t>
            </a:r>
            <a:r>
              <a:rPr lang="en-US" altLang="zh-CN" sz="3200" dirty="0">
                <a:solidFill>
                  <a:schemeClr val="bg1"/>
                </a:solidFill>
                <a:latin typeface="Arial" panose="020B0604020202020204" pitchFamily="34" charset="0"/>
                <a:ea typeface="方正兰亭粗黑_GBK"/>
                <a:sym typeface="+mn-ea"/>
              </a:rPr>
              <a:t>)</a:t>
            </a:r>
            <a:r>
              <a:rPr lang="zh-CN" altLang="en-US" sz="3200" dirty="0">
                <a:solidFill>
                  <a:schemeClr val="bg1"/>
                </a:solidFill>
                <a:latin typeface="Arial" panose="020B0604020202020204" pitchFamily="34" charset="0"/>
                <a:ea typeface="方正兰亭粗黑_GBK"/>
                <a:sym typeface="+mn-ea"/>
              </a:rPr>
              <a:t>原料验证报告</a:t>
            </a:r>
            <a:endParaRPr lang="zh-CN" altLang="en-US" sz="3200" dirty="0">
              <a:solidFill>
                <a:schemeClr val="bg1"/>
              </a:solidFill>
              <a:latin typeface="Arial" panose="020B0604020202020204" pitchFamily="34" charset="0"/>
              <a:ea typeface="方正兰亭粗黑_GBK"/>
              <a:sym typeface="+mn-ea"/>
            </a:endParaRPr>
          </a:p>
          <a:p>
            <a:pPr algn="ctr"/>
            <a:r>
              <a:rPr lang="zh-CN" altLang="en-US" sz="3200" dirty="0">
                <a:solidFill>
                  <a:schemeClr val="bg1"/>
                </a:solidFill>
                <a:latin typeface="Arial" panose="020B0604020202020204" pitchFamily="34" charset="0"/>
                <a:ea typeface="方正兰亭粗黑_GBK"/>
              </a:rPr>
              <a:t>利宇晴塑胶</a:t>
            </a:r>
            <a:endParaRPr lang="zh-CN" altLang="en-US" sz="3200" dirty="0">
              <a:solidFill>
                <a:schemeClr val="bg1"/>
              </a:solidFill>
              <a:latin typeface="Arial" panose="020B0604020202020204" pitchFamily="34" charset="0"/>
              <a:ea typeface="方正兰亭粗黑_GBK"/>
            </a:endParaRPr>
          </a:p>
          <a:p>
            <a:pPr algn="ctr"/>
            <a:r>
              <a:rPr lang="en-US" altLang="zh-CN" sz="3200" dirty="0">
                <a:solidFill>
                  <a:schemeClr val="bg1"/>
                </a:solidFill>
                <a:latin typeface="Arial" panose="020B0604020202020204" pitchFamily="34" charset="0"/>
                <a:ea typeface="方正兰亭粗黑_GBK"/>
                <a:sym typeface="+mn-ea"/>
              </a:rPr>
              <a:t>2025/4/1</a:t>
            </a:r>
            <a:endParaRPr lang="en-US" altLang="zh-CN" sz="3200" b="1" dirty="0" smtClean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" panose="020B0604020202020204" pitchFamily="34" charset="0"/>
              <a:ea typeface="方正兰亭粗黑_GBK"/>
              <a:cs typeface="+mn-ea"/>
              <a:sym typeface="+mn-ea"/>
            </a:endParaRP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>
        <p14:switch dir="r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文本框 58"/>
          <p:cNvSpPr txBox="1"/>
          <p:nvPr/>
        </p:nvSpPr>
        <p:spPr>
          <a:xfrm>
            <a:off x="3923665" y="764540"/>
            <a:ext cx="1517015" cy="7683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zh-CN" sz="4400" b="1">
                <a:gradFill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</a:gradFill>
              </a:rPr>
              <a:t>目录</a:t>
            </a:r>
            <a:endParaRPr lang="zh-CN" altLang="zh-CN" sz="4400" b="1">
              <a:gradFill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</a:gradFill>
            </a:endParaRPr>
          </a:p>
        </p:txBody>
      </p:sp>
      <p:sp>
        <p:nvSpPr>
          <p:cNvPr id="2" name="棱台 1"/>
          <p:cNvSpPr/>
          <p:nvPr/>
        </p:nvSpPr>
        <p:spPr>
          <a:xfrm>
            <a:off x="2776855" y="2644775"/>
            <a:ext cx="3919855" cy="576580"/>
          </a:xfrm>
          <a:prstGeom prst="bevel">
            <a:avLst/>
          </a:prstGeo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  <a:ln>
            <a:gradFill>
              <a:gsLst>
                <a:gs pos="0">
                  <a:srgbClr val="012D86"/>
                </a:gs>
                <a:gs pos="100000">
                  <a:srgbClr val="0E2557"/>
                </a:gs>
              </a:gsLst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l">
              <a:lnSpc>
                <a:spcPts val="3000"/>
              </a:lnSpc>
            </a:pPr>
            <a:r>
              <a:rPr lang="zh-CN" altLang="zh-CN" sz="1800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一、</a:t>
            </a:r>
            <a:r>
              <a:rPr lang="zh-CN" altLang="zh-CN" sz="1800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外观验证结果</a:t>
            </a:r>
            <a:endParaRPr lang="zh-CN" altLang="zh-CN" sz="1800" b="1" kern="1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sp>
        <p:nvSpPr>
          <p:cNvPr id="3" name="棱台 2"/>
          <p:cNvSpPr/>
          <p:nvPr/>
        </p:nvSpPr>
        <p:spPr>
          <a:xfrm>
            <a:off x="2772410" y="3628390"/>
            <a:ext cx="3919855" cy="576580"/>
          </a:xfrm>
          <a:prstGeom prst="bevel">
            <a:avLst/>
          </a:prstGeo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  <a:ln>
            <a:gradFill>
              <a:gsLst>
                <a:gs pos="0">
                  <a:srgbClr val="012D86"/>
                </a:gs>
                <a:gs pos="100000">
                  <a:srgbClr val="0E2557"/>
                </a:gs>
              </a:gsLst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l">
              <a:defRPr/>
            </a:pPr>
            <a:r>
              <a:rPr lang="zh-CN" altLang="zh-CN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二、</a:t>
            </a:r>
            <a:r>
              <a:rPr lang="zh-CN" altLang="zh-CN" sz="1800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硬度检测</a:t>
            </a:r>
            <a:r>
              <a:rPr lang="zh-CN" altLang="zh-CN" sz="1800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结果</a:t>
            </a:r>
            <a:endParaRPr lang="zh-CN" altLang="zh-CN" sz="1800" b="1" kern="1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sp>
        <p:nvSpPr>
          <p:cNvPr id="4" name="棱台 3"/>
          <p:cNvSpPr/>
          <p:nvPr/>
        </p:nvSpPr>
        <p:spPr>
          <a:xfrm>
            <a:off x="2755900" y="4616450"/>
            <a:ext cx="3919855" cy="576580"/>
          </a:xfrm>
          <a:prstGeom prst="bevel">
            <a:avLst/>
          </a:prstGeo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  <a:ln>
            <a:gradFill>
              <a:gsLst>
                <a:gs pos="0">
                  <a:srgbClr val="012D86"/>
                </a:gs>
                <a:gs pos="100000">
                  <a:srgbClr val="0E2557"/>
                </a:gs>
              </a:gsLst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l">
              <a:defRPr/>
            </a:pPr>
            <a:r>
              <a:rPr lang="zh-CN" altLang="zh-CN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二、</a:t>
            </a:r>
            <a:r>
              <a:rPr lang="zh-CN" altLang="zh-CN" sz="1800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装配验证结果</a:t>
            </a:r>
            <a:endParaRPr lang="zh-CN" altLang="zh-CN" sz="1800" b="1" kern="1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>
        <p14:switch dir="r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grpSp>
        <p:nvGrpSpPr>
          <p:cNvPr id="47" name="组合 46"/>
          <p:cNvGrpSpPr/>
          <p:nvPr/>
        </p:nvGrpSpPr>
        <p:grpSpPr>
          <a:xfrm>
            <a:off x="1003300" y="720725"/>
            <a:ext cx="3540760" cy="546100"/>
            <a:chOff x="6339097" y="1573726"/>
            <a:chExt cx="8638338" cy="545773"/>
          </a:xfr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</p:grpSpPr>
        <p:sp>
          <p:nvSpPr>
            <p:cNvPr id="48" name="圆角矩形 47"/>
            <p:cNvSpPr/>
            <p:nvPr/>
          </p:nvSpPr>
          <p:spPr>
            <a:xfrm>
              <a:off x="6339097" y="1573726"/>
              <a:ext cx="8638338" cy="511504"/>
            </a:xfrm>
            <a:prstGeom prst="roundRect">
              <a:avLst/>
            </a:prstGeom>
            <a:grp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60" tIns="60980" rIns="121960" bIns="60980" anchor="ctr"/>
            <a:p>
              <a:pPr algn="ctr">
                <a:defRPr/>
              </a:pPr>
              <a:endParaRPr lang="zh-CN" altLang="en-US" sz="3600" dirty="0">
                <a:latin typeface="+mj-lt"/>
                <a:ea typeface="Arial Narrow" panose="020B0606020202030204" charset="0"/>
                <a:cs typeface="Arial Narrow" panose="020B0606020202030204" charset="0"/>
              </a:endParaRPr>
            </a:p>
          </p:txBody>
        </p:sp>
        <p:sp>
          <p:nvSpPr>
            <p:cNvPr id="49" name="矩形 48"/>
            <p:cNvSpPr/>
            <p:nvPr/>
          </p:nvSpPr>
          <p:spPr>
            <a:xfrm>
              <a:off x="6356138" y="1573726"/>
              <a:ext cx="8619748" cy="5457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grpFill/>
                </a14:hiddenFill>
              </a:ext>
            </a:extLst>
          </p:spPr>
          <p:txBody>
            <a:bodyPr wrap="square" lIns="121960" tIns="60980" rIns="121960" bIns="60980" anchor="t" anchorCtr="0">
              <a:noAutofit/>
            </a:bodyPr>
            <a:p>
              <a:pPr algn="ctr">
                <a:lnSpc>
                  <a:spcPts val="3000"/>
                </a:lnSpc>
              </a:pPr>
              <a:r>
                <a:rPr lang="zh-CN" altLang="en-US" sz="2000" dirty="0" smtClean="0">
                  <a:solidFill>
                    <a:schemeClr val="bg1"/>
                  </a:solidFill>
                  <a:uFillTx/>
                  <a:sym typeface="+mn-ea"/>
                </a:rPr>
                <a:t>外观验证结果</a:t>
              </a:r>
              <a:endParaRPr lang="zh-CN" altLang="en-US" sz="2000" b="1" kern="100" dirty="0" smtClean="0">
                <a:solidFill>
                  <a:schemeClr val="bg1"/>
                </a:solidFill>
                <a:uFillTx/>
                <a:latin typeface="微软雅黑" panose="020B0503020204020204" charset="-122"/>
                <a:ea typeface="造字工房劲黑（非商用）常规体" pitchFamily="50" charset="-122"/>
                <a:cs typeface="Times New Roman" panose="02020603050405020304" pitchFamily="18" charset="0"/>
                <a:sym typeface="+mn-ea"/>
              </a:endParaRPr>
            </a:p>
          </p:txBody>
        </p:sp>
      </p:grpSp>
      <p:grpSp>
        <p:nvGrpSpPr>
          <p:cNvPr id="56" name="组合 55"/>
          <p:cNvGrpSpPr/>
          <p:nvPr/>
        </p:nvGrpSpPr>
        <p:grpSpPr>
          <a:xfrm>
            <a:off x="226695" y="671830"/>
            <a:ext cx="764540" cy="607695"/>
            <a:chOff x="845947" y="2542722"/>
            <a:chExt cx="1727884" cy="1360493"/>
          </a:xfrm>
        </p:grpSpPr>
        <p:grpSp>
          <p:nvGrpSpPr>
            <p:cNvPr id="57" name="组合 56"/>
            <p:cNvGrpSpPr/>
            <p:nvPr/>
          </p:nvGrpSpPr>
          <p:grpSpPr>
            <a:xfrm>
              <a:off x="1008115" y="2542722"/>
              <a:ext cx="1360493" cy="1360493"/>
              <a:chOff x="304800" y="673100"/>
              <a:chExt cx="4000500" cy="4000500"/>
            </a:xfrm>
            <a:effectLst>
              <a:outerShdw blurRad="444500" dist="254000" dir="8100000" algn="tr" rotWithShape="0">
                <a:prstClr val="black">
                  <a:alpha val="50000"/>
                </a:prstClr>
              </a:outerShdw>
            </a:effectLst>
          </p:grpSpPr>
          <p:sp>
            <p:nvSpPr>
              <p:cNvPr id="59" name="同心圆 58"/>
              <p:cNvSpPr/>
              <p:nvPr/>
            </p:nvSpPr>
            <p:spPr>
              <a:xfrm>
                <a:off x="304800" y="673100"/>
                <a:ext cx="4000500" cy="4000500"/>
              </a:xfrm>
              <a:prstGeom prst="donut">
                <a:avLst>
                  <a:gd name="adj" fmla="val 4879"/>
                </a:avLst>
              </a:prstGeom>
              <a:gradFill>
                <a:gsLst>
                  <a:gs pos="0">
                    <a:schemeClr val="bg1"/>
                  </a:gs>
                  <a:gs pos="55000">
                    <a:schemeClr val="bg1">
                      <a:lumMod val="9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81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rgbClr val="002060"/>
                  </a:solidFill>
                </a:endParaRPr>
              </a:p>
            </p:txBody>
          </p:sp>
          <p:sp>
            <p:nvSpPr>
              <p:cNvPr id="43" name="椭圆 42"/>
              <p:cNvSpPr/>
              <p:nvPr/>
            </p:nvSpPr>
            <p:spPr>
              <a:xfrm>
                <a:off x="392113" y="760413"/>
                <a:ext cx="3825874" cy="3825874"/>
              </a:xfrm>
              <a:prstGeom prst="ellipse">
                <a:avLst/>
              </a:prstGeom>
              <a:gradFill>
                <a:gsLst>
                  <a:gs pos="0">
                    <a:schemeClr val="bg1"/>
                  </a:gs>
                  <a:gs pos="51000">
                    <a:schemeClr val="bg1">
                      <a:lumMod val="9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89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rgbClr val="002060"/>
                  </a:solidFill>
                </a:endParaRPr>
              </a:p>
            </p:txBody>
          </p:sp>
        </p:grpSp>
        <p:sp>
          <p:nvSpPr>
            <p:cNvPr id="3" name="TextBox 17"/>
            <p:cNvSpPr txBox="1"/>
            <p:nvPr/>
          </p:nvSpPr>
          <p:spPr>
            <a:xfrm>
              <a:off x="845947" y="2754544"/>
              <a:ext cx="1727884" cy="1052001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p>
              <a:pPr algn="ctr"/>
              <a:r>
                <a:rPr lang="zh-CN" altLang="en-US" sz="2000" b="1" dirty="0" smtClean="0">
                  <a:solidFill>
                    <a:srgbClr val="002060"/>
                  </a:solidFill>
                  <a:latin typeface="微软雅黑" panose="020B0503020204020204" charset="-122"/>
                  <a:ea typeface="造字工房劲黑（非商用）常规体" pitchFamily="50" charset="-122"/>
                </a:rPr>
                <a:t>一</a:t>
              </a:r>
              <a:endParaRPr lang="zh-CN" altLang="en-US" sz="2000" b="1" dirty="0" smtClean="0">
                <a:solidFill>
                  <a:srgbClr val="002060"/>
                </a:solidFill>
                <a:latin typeface="微软雅黑" panose="020B0503020204020204" charset="-122"/>
                <a:ea typeface="造字工房劲黑（非商用）常规体" pitchFamily="50" charset="-122"/>
              </a:endParaRPr>
            </a:p>
          </p:txBody>
        </p:sp>
      </p:grpSp>
      <p:sp>
        <p:nvSpPr>
          <p:cNvPr id="71" name="TextBox 42"/>
          <p:cNvSpPr txBox="1"/>
          <p:nvPr/>
        </p:nvSpPr>
        <p:spPr>
          <a:xfrm>
            <a:off x="887095" y="1557020"/>
            <a:ext cx="7688580" cy="13214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algn="ctr">
              <a:defRPr sz="14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1900" dirty="0">
                <a:solidFill>
                  <a:schemeClr val="tx1"/>
                </a:solidFill>
                <a:sym typeface="+mn-ea"/>
              </a:rPr>
              <a:t>TPE</a:t>
            </a:r>
            <a:r>
              <a:rPr lang="zh-CN" altLang="en-US" sz="1900" dirty="0">
                <a:solidFill>
                  <a:schemeClr val="tx1"/>
                </a:solidFill>
                <a:sym typeface="+mn-ea"/>
              </a:rPr>
              <a:t>原料生产</a:t>
            </a:r>
            <a:r>
              <a:rPr lang="en-US" sz="1900" dirty="0">
                <a:solidFill>
                  <a:schemeClr val="tx1"/>
                </a:solidFill>
                <a:sym typeface="+mn-ea"/>
              </a:rPr>
              <a:t>B41V</a:t>
            </a:r>
            <a:r>
              <a:rPr lang="zh-CN" altLang="en-US" sz="1900" dirty="0">
                <a:solidFill>
                  <a:schemeClr val="tx1"/>
                </a:solidFill>
                <a:sym typeface="+mn-ea"/>
              </a:rPr>
              <a:t>左右镜座胶垫</a:t>
            </a:r>
            <a:r>
              <a:rPr lang="zh-CN" sz="1900" dirty="0">
                <a:solidFill>
                  <a:schemeClr val="tx1"/>
                </a:solidFill>
                <a:sym typeface="+mn-ea"/>
              </a:rPr>
              <a:t>表面平整，无明细缩水龟裂问题目视无明细色差</a:t>
            </a:r>
            <a:endParaRPr lang="zh-CN" altLang="en-US" sz="1900" b="1" kern="0" noProof="0" dirty="0" smtClean="0">
              <a:ln>
                <a:noFill/>
              </a:ln>
              <a:gradFill>
                <a:gsLst>
                  <a:gs pos="0">
                    <a:srgbClr val="012D86"/>
                  </a:gs>
                  <a:gs pos="100000">
                    <a:srgbClr val="0E2557"/>
                  </a:gs>
                </a:gsLst>
                <a:lin scaled="0"/>
              </a:gra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ea"/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727710" y="6381115"/>
            <a:ext cx="7688580" cy="38354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sz="1900" b="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结论：</a:t>
            </a:r>
            <a:r>
              <a:rPr lang="zh-CN" sz="1800" b="1" dirty="0">
                <a:solidFill>
                  <a:srgbClr val="00B050"/>
                </a:solidFill>
                <a:latin typeface="宋体" panose="02010600030101010101" pitchFamily="2" charset="-122"/>
              </a:rPr>
              <a:t>符合要求。</a:t>
            </a:r>
            <a:endParaRPr lang="zh-CN" sz="1800" b="1" dirty="0">
              <a:solidFill>
                <a:srgbClr val="00B050"/>
              </a:solidFill>
              <a:latin typeface="宋体" panose="02010600030101010101" pitchFamily="2" charset="-122"/>
              <a:ea typeface="微软雅黑" panose="020B0503020204020204" charset="-122"/>
            </a:endParaRPr>
          </a:p>
        </p:txBody>
      </p:sp>
      <p:pic>
        <p:nvPicPr>
          <p:cNvPr id="4" name="图片 3" descr="a6decc57412f7ed2508e4e89d93f9d2"/>
          <p:cNvPicPr>
            <a:picLocks noChangeAspect="1"/>
          </p:cNvPicPr>
          <p:nvPr/>
        </p:nvPicPr>
        <p:blipFill>
          <a:blip r:embed="rId1"/>
          <a:srcRect l="29395" t="-1046"/>
          <a:stretch>
            <a:fillRect/>
          </a:stretch>
        </p:blipFill>
        <p:spPr>
          <a:xfrm rot="16200000">
            <a:off x="2668270" y="1371600"/>
            <a:ext cx="3101340" cy="591947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grpSp>
        <p:nvGrpSpPr>
          <p:cNvPr id="47" name="组合 46"/>
          <p:cNvGrpSpPr/>
          <p:nvPr/>
        </p:nvGrpSpPr>
        <p:grpSpPr>
          <a:xfrm>
            <a:off x="1003300" y="720725"/>
            <a:ext cx="3540760" cy="546100"/>
            <a:chOff x="6339097" y="1573726"/>
            <a:chExt cx="8638338" cy="545773"/>
          </a:xfr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</p:grpSpPr>
        <p:sp>
          <p:nvSpPr>
            <p:cNvPr id="48" name="圆角矩形 47"/>
            <p:cNvSpPr/>
            <p:nvPr/>
          </p:nvSpPr>
          <p:spPr>
            <a:xfrm>
              <a:off x="6339097" y="1573726"/>
              <a:ext cx="8638338" cy="511504"/>
            </a:xfrm>
            <a:prstGeom prst="roundRect">
              <a:avLst/>
            </a:prstGeom>
            <a:grp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60" tIns="60980" rIns="121960" bIns="60980" anchor="ctr"/>
            <a:p>
              <a:pPr algn="ctr">
                <a:defRPr/>
              </a:pPr>
              <a:endParaRPr lang="zh-CN" altLang="en-US" sz="3600" dirty="0">
                <a:latin typeface="+mj-lt"/>
                <a:ea typeface="Arial Narrow" panose="020B0606020202030204" charset="0"/>
                <a:cs typeface="Arial Narrow" panose="020B0606020202030204" charset="0"/>
              </a:endParaRPr>
            </a:p>
          </p:txBody>
        </p:sp>
        <p:sp>
          <p:nvSpPr>
            <p:cNvPr id="49" name="矩形 48"/>
            <p:cNvSpPr/>
            <p:nvPr/>
          </p:nvSpPr>
          <p:spPr>
            <a:xfrm>
              <a:off x="6356138" y="1573726"/>
              <a:ext cx="8619748" cy="5457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grpFill/>
                </a14:hiddenFill>
              </a:ext>
            </a:extLst>
          </p:spPr>
          <p:txBody>
            <a:bodyPr wrap="square" lIns="121960" tIns="60980" rIns="121960" bIns="60980" anchor="t" anchorCtr="0">
              <a:noAutofit/>
            </a:bodyPr>
            <a:p>
              <a:pPr algn="ctr">
                <a:lnSpc>
                  <a:spcPts val="3000"/>
                </a:lnSpc>
              </a:pPr>
              <a:r>
                <a:rPr lang="zh-CN" altLang="en-US" sz="2000" dirty="0" smtClean="0">
                  <a:solidFill>
                    <a:schemeClr val="bg1"/>
                  </a:solidFill>
                  <a:uFillTx/>
                  <a:sym typeface="+mn-ea"/>
                </a:rPr>
                <a:t>硬度验证结果</a:t>
              </a:r>
              <a:endParaRPr lang="zh-CN" altLang="en-US" sz="2000" b="1" kern="100" dirty="0" smtClean="0">
                <a:solidFill>
                  <a:schemeClr val="bg1"/>
                </a:solidFill>
                <a:uFillTx/>
                <a:latin typeface="微软雅黑" panose="020B0503020204020204" charset="-122"/>
                <a:ea typeface="造字工房劲黑（非商用）常规体" pitchFamily="50" charset="-122"/>
                <a:cs typeface="Times New Roman" panose="02020603050405020304" pitchFamily="18" charset="0"/>
                <a:sym typeface="+mn-ea"/>
              </a:endParaRPr>
            </a:p>
          </p:txBody>
        </p:sp>
      </p:grpSp>
      <p:grpSp>
        <p:nvGrpSpPr>
          <p:cNvPr id="56" name="组合 55"/>
          <p:cNvGrpSpPr/>
          <p:nvPr/>
        </p:nvGrpSpPr>
        <p:grpSpPr>
          <a:xfrm>
            <a:off x="226695" y="671830"/>
            <a:ext cx="764540" cy="607695"/>
            <a:chOff x="845947" y="2542722"/>
            <a:chExt cx="1727884" cy="1360493"/>
          </a:xfrm>
        </p:grpSpPr>
        <p:grpSp>
          <p:nvGrpSpPr>
            <p:cNvPr id="57" name="组合 56"/>
            <p:cNvGrpSpPr/>
            <p:nvPr/>
          </p:nvGrpSpPr>
          <p:grpSpPr>
            <a:xfrm>
              <a:off x="1008115" y="2542722"/>
              <a:ext cx="1360493" cy="1360493"/>
              <a:chOff x="304800" y="673100"/>
              <a:chExt cx="4000500" cy="4000500"/>
            </a:xfrm>
            <a:effectLst>
              <a:outerShdw blurRad="444500" dist="254000" dir="8100000" algn="tr" rotWithShape="0">
                <a:prstClr val="black">
                  <a:alpha val="50000"/>
                </a:prstClr>
              </a:outerShdw>
            </a:effectLst>
          </p:grpSpPr>
          <p:sp>
            <p:nvSpPr>
              <p:cNvPr id="59" name="同心圆 58"/>
              <p:cNvSpPr/>
              <p:nvPr/>
            </p:nvSpPr>
            <p:spPr>
              <a:xfrm>
                <a:off x="304800" y="673100"/>
                <a:ext cx="4000500" cy="4000500"/>
              </a:xfrm>
              <a:prstGeom prst="donut">
                <a:avLst>
                  <a:gd name="adj" fmla="val 4879"/>
                </a:avLst>
              </a:prstGeom>
              <a:gradFill>
                <a:gsLst>
                  <a:gs pos="0">
                    <a:schemeClr val="bg1"/>
                  </a:gs>
                  <a:gs pos="55000">
                    <a:schemeClr val="bg1">
                      <a:lumMod val="9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81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rgbClr val="002060"/>
                  </a:solidFill>
                </a:endParaRPr>
              </a:p>
            </p:txBody>
          </p:sp>
          <p:sp>
            <p:nvSpPr>
              <p:cNvPr id="43" name="椭圆 42"/>
              <p:cNvSpPr/>
              <p:nvPr/>
            </p:nvSpPr>
            <p:spPr>
              <a:xfrm>
                <a:off x="392113" y="760413"/>
                <a:ext cx="3825874" cy="3825874"/>
              </a:xfrm>
              <a:prstGeom prst="ellipse">
                <a:avLst/>
              </a:prstGeom>
              <a:gradFill>
                <a:gsLst>
                  <a:gs pos="0">
                    <a:schemeClr val="bg1"/>
                  </a:gs>
                  <a:gs pos="51000">
                    <a:schemeClr val="bg1">
                      <a:lumMod val="9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89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rgbClr val="002060"/>
                  </a:solidFill>
                </a:endParaRPr>
              </a:p>
            </p:txBody>
          </p:sp>
        </p:grpSp>
        <p:sp>
          <p:nvSpPr>
            <p:cNvPr id="3" name="TextBox 17"/>
            <p:cNvSpPr txBox="1"/>
            <p:nvPr/>
          </p:nvSpPr>
          <p:spPr>
            <a:xfrm>
              <a:off x="845947" y="2754544"/>
              <a:ext cx="1727884" cy="1052001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p>
              <a:pPr algn="ctr"/>
              <a:r>
                <a:rPr lang="zh-CN" altLang="en-US" sz="2000" b="1" dirty="0" smtClean="0">
                  <a:solidFill>
                    <a:srgbClr val="002060"/>
                  </a:solidFill>
                  <a:latin typeface="微软雅黑" panose="020B0503020204020204" charset="-122"/>
                  <a:ea typeface="造字工房劲黑（非商用）常规体" pitchFamily="50" charset="-122"/>
                </a:rPr>
                <a:t>二</a:t>
              </a:r>
              <a:endParaRPr lang="zh-CN" altLang="en-US" sz="2000" b="1" dirty="0" smtClean="0">
                <a:solidFill>
                  <a:srgbClr val="002060"/>
                </a:solidFill>
                <a:latin typeface="微软雅黑" panose="020B0503020204020204" charset="-122"/>
                <a:ea typeface="造字工房劲黑（非商用）常规体" pitchFamily="50" charset="-122"/>
              </a:endParaRPr>
            </a:p>
          </p:txBody>
        </p:sp>
      </p:grpSp>
      <p:sp>
        <p:nvSpPr>
          <p:cNvPr id="71" name="TextBox 42"/>
          <p:cNvSpPr txBox="1"/>
          <p:nvPr/>
        </p:nvSpPr>
        <p:spPr>
          <a:xfrm>
            <a:off x="887095" y="1557020"/>
            <a:ext cx="7688580" cy="13214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algn="ctr">
              <a:defRPr sz="14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sz="1900" dirty="0">
                <a:solidFill>
                  <a:schemeClr val="tx1"/>
                </a:solidFill>
                <a:sym typeface="+mn-ea"/>
              </a:rPr>
              <a:t>邵氏硬度标准：</a:t>
            </a:r>
            <a:r>
              <a:rPr lang="en-US" altLang="zh-CN" sz="1900" dirty="0">
                <a:solidFill>
                  <a:schemeClr val="tx1"/>
                </a:solidFill>
                <a:sym typeface="+mn-ea"/>
              </a:rPr>
              <a:t>60</a:t>
            </a:r>
            <a:r>
              <a:rPr lang="zh-CN" altLang="en-US" sz="1900" dirty="0">
                <a:solidFill>
                  <a:schemeClr val="tx1"/>
                </a:solidFill>
                <a:sym typeface="+mn-ea"/>
              </a:rPr>
              <a:t>±</a:t>
            </a:r>
            <a:r>
              <a:rPr lang="en-US" altLang="zh-CN" sz="1900" dirty="0">
                <a:solidFill>
                  <a:schemeClr val="tx1"/>
                </a:solidFill>
                <a:sym typeface="+mn-ea"/>
              </a:rPr>
              <a:t>10</a:t>
            </a:r>
            <a:endParaRPr lang="en-US" altLang="zh-CN" sz="1900" dirty="0">
              <a:solidFill>
                <a:schemeClr val="tx1"/>
              </a:solidFill>
              <a:sym typeface="+mn-ea"/>
            </a:endParaRPr>
          </a:p>
          <a:p>
            <a:pPr marL="0" marR="0" lvl="0" indent="0" algn="l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900" b="1" kern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+mn-ea"/>
              </a:rPr>
              <a:t>实际检测：</a:t>
            </a:r>
            <a:r>
              <a:rPr lang="en-US" altLang="zh-CN" sz="1900" b="1" kern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+mn-ea"/>
              </a:rPr>
              <a:t>59</a:t>
            </a:r>
            <a:r>
              <a:rPr lang="zh-CN" altLang="en-US" sz="1900" b="1" kern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+mn-ea"/>
              </a:rPr>
              <a:t>，符合要求</a:t>
            </a:r>
            <a:endParaRPr lang="zh-CN" altLang="en-US" sz="1900" b="1" kern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ea"/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727710" y="6381115"/>
            <a:ext cx="7688580" cy="38354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sz="1900" b="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结论：</a:t>
            </a:r>
            <a:r>
              <a:rPr lang="zh-CN" sz="1800" b="1" dirty="0">
                <a:solidFill>
                  <a:srgbClr val="00B050"/>
                </a:solidFill>
                <a:latin typeface="宋体" panose="02010600030101010101" pitchFamily="2" charset="-122"/>
              </a:rPr>
              <a:t>符合要求。</a:t>
            </a:r>
            <a:endParaRPr lang="zh-CN" sz="1800" b="1" dirty="0">
              <a:solidFill>
                <a:srgbClr val="00B050"/>
              </a:solidFill>
              <a:latin typeface="宋体" panose="02010600030101010101" pitchFamily="2" charset="-122"/>
              <a:ea typeface="微软雅黑" panose="020B0503020204020204" charset="-122"/>
            </a:endParaRPr>
          </a:p>
        </p:txBody>
      </p:sp>
      <p:pic>
        <p:nvPicPr>
          <p:cNvPr id="2" name="图片 1" descr="de57b81d0851f4095927d87b132225e"/>
          <p:cNvPicPr>
            <a:picLocks noChangeAspect="1"/>
          </p:cNvPicPr>
          <p:nvPr/>
        </p:nvPicPr>
        <p:blipFill>
          <a:blip r:embed="rId1"/>
          <a:srcRect/>
          <a:stretch>
            <a:fillRect/>
          </a:stretch>
        </p:blipFill>
        <p:spPr>
          <a:xfrm>
            <a:off x="2267585" y="2797810"/>
            <a:ext cx="3183890" cy="343979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grpSp>
        <p:nvGrpSpPr>
          <p:cNvPr id="48" name="组合 47"/>
          <p:cNvGrpSpPr/>
          <p:nvPr/>
        </p:nvGrpSpPr>
        <p:grpSpPr>
          <a:xfrm>
            <a:off x="179070" y="682625"/>
            <a:ext cx="764540" cy="607695"/>
            <a:chOff x="845947" y="2542722"/>
            <a:chExt cx="1727884" cy="1360493"/>
          </a:xfrm>
        </p:grpSpPr>
        <p:grpSp>
          <p:nvGrpSpPr>
            <p:cNvPr id="49" name="组合 48"/>
            <p:cNvGrpSpPr/>
            <p:nvPr/>
          </p:nvGrpSpPr>
          <p:grpSpPr>
            <a:xfrm>
              <a:off x="1008115" y="2542722"/>
              <a:ext cx="1360493" cy="1360493"/>
              <a:chOff x="304800" y="673100"/>
              <a:chExt cx="4000500" cy="4000500"/>
            </a:xfrm>
            <a:effectLst>
              <a:outerShdw blurRad="444500" dist="254000" dir="8100000" algn="tr" rotWithShape="0">
                <a:prstClr val="black">
                  <a:alpha val="50000"/>
                </a:prstClr>
              </a:outerShdw>
            </a:effectLst>
          </p:grpSpPr>
          <p:sp>
            <p:nvSpPr>
              <p:cNvPr id="50" name="同心圆 49"/>
              <p:cNvSpPr/>
              <p:nvPr/>
            </p:nvSpPr>
            <p:spPr>
              <a:xfrm>
                <a:off x="304800" y="673100"/>
                <a:ext cx="4000500" cy="4000500"/>
              </a:xfrm>
              <a:prstGeom prst="donut">
                <a:avLst>
                  <a:gd name="adj" fmla="val 4879"/>
                </a:avLst>
              </a:prstGeom>
              <a:gradFill>
                <a:gsLst>
                  <a:gs pos="0">
                    <a:schemeClr val="bg1"/>
                  </a:gs>
                  <a:gs pos="55000">
                    <a:schemeClr val="bg1">
                      <a:lumMod val="9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81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51" name="椭圆 50"/>
              <p:cNvSpPr/>
              <p:nvPr/>
            </p:nvSpPr>
            <p:spPr>
              <a:xfrm>
                <a:off x="392113" y="760413"/>
                <a:ext cx="3825874" cy="3825874"/>
              </a:xfrm>
              <a:prstGeom prst="ellipse">
                <a:avLst/>
              </a:prstGeom>
              <a:gradFill>
                <a:gsLst>
                  <a:gs pos="0">
                    <a:schemeClr val="bg1"/>
                  </a:gs>
                  <a:gs pos="51000">
                    <a:schemeClr val="bg1">
                      <a:lumMod val="9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89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52" name="TextBox 17"/>
            <p:cNvSpPr txBox="1"/>
            <p:nvPr/>
          </p:nvSpPr>
          <p:spPr>
            <a:xfrm>
              <a:off x="845947" y="2754544"/>
              <a:ext cx="1727884" cy="1052001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p>
              <a:pPr algn="ctr"/>
              <a:r>
                <a:rPr lang="zh-CN" altLang="en-US" sz="2000" b="1" dirty="0" smtClean="0">
                  <a:solidFill>
                    <a:schemeClr val="tx1"/>
                  </a:solidFill>
                  <a:latin typeface="微软雅黑" panose="020B0503020204020204" charset="-122"/>
                  <a:ea typeface="造字工房劲黑（非商用）常规体" pitchFamily="50" charset="-122"/>
                </a:rPr>
                <a:t>三</a:t>
              </a:r>
              <a:endParaRPr lang="zh-CN" altLang="en-US" sz="2000" b="1" dirty="0" smtClean="0">
                <a:solidFill>
                  <a:schemeClr val="tx1"/>
                </a:solidFill>
                <a:latin typeface="微软雅黑" panose="020B0503020204020204" charset="-122"/>
                <a:ea typeface="造字工房劲黑（非商用）常规体" pitchFamily="50" charset="-122"/>
              </a:endParaRPr>
            </a:p>
          </p:txBody>
        </p:sp>
      </p:grpSp>
      <p:grpSp>
        <p:nvGrpSpPr>
          <p:cNvPr id="47" name="组合 46"/>
          <p:cNvGrpSpPr/>
          <p:nvPr/>
        </p:nvGrpSpPr>
        <p:grpSpPr>
          <a:xfrm>
            <a:off x="1003300" y="720725"/>
            <a:ext cx="3540760" cy="546100"/>
            <a:chOff x="6339097" y="1573726"/>
            <a:chExt cx="8638338" cy="545773"/>
          </a:xfr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</p:grpSpPr>
        <p:sp>
          <p:nvSpPr>
            <p:cNvPr id="14" name="圆角矩形 13"/>
            <p:cNvSpPr/>
            <p:nvPr/>
          </p:nvSpPr>
          <p:spPr>
            <a:xfrm>
              <a:off x="6339097" y="1573726"/>
              <a:ext cx="8638338" cy="511504"/>
            </a:xfrm>
            <a:prstGeom prst="roundRect">
              <a:avLst/>
            </a:prstGeom>
            <a:grp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60" tIns="60980" rIns="121960" bIns="60980" anchor="ctr"/>
            <a:p>
              <a:pPr algn="ctr">
                <a:defRPr/>
              </a:pPr>
              <a:endParaRPr lang="zh-CN" altLang="en-US" sz="3600" dirty="0">
                <a:latin typeface="+mj-lt"/>
                <a:ea typeface="Arial Narrow" panose="020B0606020202030204" charset="0"/>
                <a:cs typeface="Arial Narrow" panose="020B0606020202030204" charset="0"/>
              </a:endParaRPr>
            </a:p>
          </p:txBody>
        </p:sp>
        <p:sp>
          <p:nvSpPr>
            <p:cNvPr id="15" name="矩形 14"/>
            <p:cNvSpPr/>
            <p:nvPr/>
          </p:nvSpPr>
          <p:spPr>
            <a:xfrm>
              <a:off x="6356138" y="1573726"/>
              <a:ext cx="8619748" cy="5457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grpFill/>
                </a14:hiddenFill>
              </a:ext>
            </a:extLst>
          </p:spPr>
          <p:txBody>
            <a:bodyPr wrap="square" lIns="121960" tIns="60980" rIns="121960" bIns="60980" anchor="t" anchorCtr="0">
              <a:noAutofit/>
            </a:bodyPr>
            <a:p>
              <a:pPr algn="ctr">
                <a:lnSpc>
                  <a:spcPts val="3000"/>
                </a:lnSpc>
              </a:pPr>
              <a:r>
                <a:rPr lang="zh-CN" altLang="en-US" sz="2000" dirty="0" smtClean="0">
                  <a:solidFill>
                    <a:schemeClr val="bg1"/>
                  </a:solidFill>
                  <a:uFillTx/>
                  <a:sym typeface="+mn-ea"/>
                </a:rPr>
                <a:t>装配验证结果</a:t>
              </a:r>
              <a:endParaRPr lang="zh-CN" altLang="en-US" sz="2000" b="1" kern="100" dirty="0" smtClean="0">
                <a:solidFill>
                  <a:schemeClr val="bg1"/>
                </a:solidFill>
                <a:uFillTx/>
                <a:latin typeface="微软雅黑" panose="020B0503020204020204" charset="-122"/>
                <a:ea typeface="造字工房劲黑（非商用）常规体" pitchFamily="50" charset="-122"/>
                <a:cs typeface="Times New Roman" panose="02020603050405020304" pitchFamily="18" charset="0"/>
                <a:sym typeface="+mn-ea"/>
              </a:endParaRPr>
            </a:p>
          </p:txBody>
        </p:sp>
      </p:grpSp>
      <p:sp>
        <p:nvSpPr>
          <p:cNvPr id="16" name="TextBox 42"/>
          <p:cNvSpPr txBox="1"/>
          <p:nvPr/>
        </p:nvSpPr>
        <p:spPr>
          <a:xfrm>
            <a:off x="328295" y="1557020"/>
            <a:ext cx="8608060" cy="13214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algn="ctr">
              <a:defRPr sz="14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900" dirty="0" smtClean="0">
                <a:solidFill>
                  <a:schemeClr val="tx1"/>
                </a:solidFill>
                <a:uFillTx/>
                <a:sym typeface="+mn-ea"/>
              </a:rPr>
              <a:t>1.</a:t>
            </a:r>
            <a:r>
              <a:rPr lang="zh-CN" altLang="en-US" sz="1900" dirty="0" smtClean="0">
                <a:solidFill>
                  <a:schemeClr val="tx1"/>
                </a:solidFill>
                <a:uFillTx/>
                <a:sym typeface="+mn-ea"/>
              </a:rPr>
              <a:t>胶垫装配检具后产品间隙</a:t>
            </a:r>
            <a:r>
              <a:rPr lang="zh-CN" altLang="en-US" sz="1900" dirty="0" smtClean="0">
                <a:solidFill>
                  <a:schemeClr val="tx1"/>
                </a:solidFill>
                <a:uFillTx/>
                <a:sym typeface="+mn-ea"/>
              </a:rPr>
              <a:t>，与现有胶垫互换无偏差，间隙合格，符合要求。</a:t>
            </a:r>
            <a:endParaRPr lang="zh-CN" altLang="en-US" sz="1900" b="1" kern="0" noProof="0" dirty="0" smtClean="0">
              <a:ln>
                <a:noFill/>
              </a:ln>
              <a:gradFill>
                <a:gsLst>
                  <a:gs pos="0">
                    <a:srgbClr val="012D86"/>
                  </a:gs>
                  <a:gs pos="100000">
                    <a:srgbClr val="0E2557"/>
                  </a:gs>
                </a:gsLst>
                <a:lin scaled="0"/>
              </a:gra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ea"/>
              <a:sym typeface="+mn-ea"/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539750" y="5300980"/>
            <a:ext cx="7306310" cy="38354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1900" b="1" dirty="0" smtClean="0">
                <a:uFillTx/>
                <a:latin typeface="微软雅黑" panose="020B0503020204020204" charset="-122"/>
                <a:ea typeface="微软雅黑" panose="020B0503020204020204" charset="-122"/>
                <a:sym typeface="+mn-ea"/>
              </a:rPr>
              <a:t>结论：</a:t>
            </a:r>
            <a:r>
              <a:rPr lang="zh-CN" altLang="en-US" sz="1900" b="1" dirty="0" smtClean="0">
                <a:solidFill>
                  <a:srgbClr val="00B050"/>
                </a:solidFill>
                <a:uFillTx/>
                <a:latin typeface="微软雅黑" panose="020B0503020204020204" charset="-122"/>
                <a:ea typeface="微软雅黑" panose="020B0503020204020204" charset="-122"/>
                <a:sym typeface="+mn-ea"/>
              </a:rPr>
              <a:t>符合要求。</a:t>
            </a:r>
            <a:endParaRPr lang="zh-CN" altLang="en-US" sz="1900" b="1" dirty="0" smtClean="0">
              <a:solidFill>
                <a:srgbClr val="00B050"/>
              </a:solidFill>
              <a:uFillTx/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pic>
        <p:nvPicPr>
          <p:cNvPr id="2" name="图片 1" descr="298a260de7902bb2ce4c24613745b59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39750" y="2308860"/>
            <a:ext cx="1922145" cy="2562860"/>
          </a:xfrm>
          <a:prstGeom prst="rect">
            <a:avLst/>
          </a:prstGeom>
        </p:spPr>
      </p:pic>
      <p:pic>
        <p:nvPicPr>
          <p:cNvPr id="6" name="图片 5" descr="7b26f5a6c1945ca196d500b02fc167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4120" y="2308860"/>
            <a:ext cx="1916430" cy="255651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形 10" descr="讲师"/>
          <p:cNvPicPr>
            <a:picLocks noChangeAspect="1"/>
          </p:cNvPicPr>
          <p:nvPr/>
        </p:nvPicPr>
        <p:blipFill>
          <a:blip/>
          <a:stretch>
            <a:fillRect/>
          </a:stretch>
        </p:blipFill>
        <p:spPr>
          <a:xfrm>
            <a:off x="4795494" y="4887131"/>
            <a:ext cx="420314" cy="560419"/>
          </a:xfrm>
          <a:prstGeom prst="rect">
            <a:avLst/>
          </a:prstGeom>
        </p:spPr>
      </p:pic>
      <p:pic>
        <p:nvPicPr>
          <p:cNvPr id="12" name="图形 11" descr="教师"/>
          <p:cNvPicPr>
            <a:picLocks noChangeAspect="1"/>
          </p:cNvPicPr>
          <p:nvPr/>
        </p:nvPicPr>
        <p:blipFill>
          <a:blip/>
          <a:stretch>
            <a:fillRect/>
          </a:stretch>
        </p:blipFill>
        <p:spPr>
          <a:xfrm>
            <a:off x="2662938" y="5027256"/>
            <a:ext cx="420314" cy="560419"/>
          </a:xfrm>
          <a:prstGeom prst="rect">
            <a:avLst/>
          </a:prstGeom>
        </p:spPr>
      </p:pic>
      <p:sp>
        <p:nvSpPr>
          <p:cNvPr id="29" name="文本框 58"/>
          <p:cNvSpPr txBox="1">
            <a:spLocks noChangeArrowheads="1"/>
          </p:cNvSpPr>
          <p:nvPr/>
        </p:nvSpPr>
        <p:spPr>
          <a:xfrm>
            <a:off x="1622280" y="1850324"/>
            <a:ext cx="1427784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hangingPunct="1"/>
            <a:r>
              <a:rPr lang="en-US" altLang="zh-CN" sz="16600" b="1">
                <a:gradFill flip="none" rotWithShape="1"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  <a:tileRect/>
                </a:gradFill>
                <a:latin typeface="思源黑体 CN Normal"/>
                <a:ea typeface="微软雅黑" panose="020B0503020204020204" charset="-122"/>
              </a:rPr>
              <a:t>T</a:t>
            </a:r>
            <a:endParaRPr lang="en-US" altLang="zh-CN" sz="16600" b="1">
              <a:gradFill flip="none" rotWithShape="1"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  <a:tileRect/>
              </a:gradFill>
              <a:latin typeface="思源黑体 CN Normal"/>
              <a:ea typeface="微软雅黑" panose="020B0503020204020204" charset="-122"/>
            </a:endParaRPr>
          </a:p>
        </p:txBody>
      </p:sp>
      <p:sp>
        <p:nvSpPr>
          <p:cNvPr id="30" name="文本框 58"/>
          <p:cNvSpPr txBox="1">
            <a:spLocks noChangeArrowheads="1"/>
          </p:cNvSpPr>
          <p:nvPr/>
        </p:nvSpPr>
        <p:spPr>
          <a:xfrm>
            <a:off x="2445147" y="1850324"/>
            <a:ext cx="1427784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hangingPunct="1"/>
            <a:r>
              <a:rPr lang="en-US" altLang="zh-CN" sz="16600" b="1">
                <a:gradFill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</a:gradFill>
                <a:latin typeface="思源黑体 CN Normal"/>
                <a:ea typeface="微软雅黑" panose="020B0503020204020204" charset="-122"/>
              </a:rPr>
              <a:t>H</a:t>
            </a:r>
            <a:endParaRPr lang="en-US" altLang="zh-CN" sz="16600" b="1">
              <a:gradFill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</a:gradFill>
              <a:latin typeface="思源黑体 CN Normal"/>
              <a:ea typeface="微软雅黑" panose="020B0503020204020204" charset="-122"/>
            </a:endParaRPr>
          </a:p>
        </p:txBody>
      </p:sp>
      <p:sp>
        <p:nvSpPr>
          <p:cNvPr id="31" name="文本框 58"/>
          <p:cNvSpPr txBox="1">
            <a:spLocks noChangeArrowheads="1"/>
          </p:cNvSpPr>
          <p:nvPr/>
        </p:nvSpPr>
        <p:spPr>
          <a:xfrm>
            <a:off x="3268014" y="1850324"/>
            <a:ext cx="1427784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hangingPunct="1"/>
            <a:r>
              <a:rPr lang="en-US" altLang="zh-CN" sz="16600" b="1">
                <a:gradFill flip="none" rotWithShape="1"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  <a:tileRect/>
                </a:gradFill>
                <a:latin typeface="思源黑体 CN Normal"/>
                <a:ea typeface="微软雅黑" panose="020B0503020204020204" charset="-122"/>
              </a:rPr>
              <a:t>A</a:t>
            </a:r>
            <a:endParaRPr lang="en-US" altLang="zh-CN" sz="16600" b="1">
              <a:gradFill flip="none" rotWithShape="1"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  <a:tileRect/>
              </a:gradFill>
              <a:latin typeface="思源黑体 CN Normal"/>
              <a:ea typeface="微软雅黑" panose="020B0503020204020204" charset="-122"/>
            </a:endParaRPr>
          </a:p>
        </p:txBody>
      </p:sp>
      <p:sp>
        <p:nvSpPr>
          <p:cNvPr id="32" name="文本框 58"/>
          <p:cNvSpPr txBox="1">
            <a:spLocks noChangeArrowheads="1"/>
          </p:cNvSpPr>
          <p:nvPr/>
        </p:nvSpPr>
        <p:spPr>
          <a:xfrm>
            <a:off x="4090881" y="1850324"/>
            <a:ext cx="1427784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hangingPunct="1"/>
            <a:r>
              <a:rPr lang="en-US" altLang="zh-CN" sz="16600" b="1">
                <a:gradFill flip="none" rotWithShape="1"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  <a:tileRect/>
                </a:gradFill>
                <a:latin typeface="思源黑体 CN Normal"/>
                <a:ea typeface="微软雅黑" panose="020B0503020204020204" charset="-122"/>
              </a:rPr>
              <a:t>N</a:t>
            </a:r>
            <a:endParaRPr lang="en-US" altLang="zh-CN" sz="16600" b="1">
              <a:gradFill flip="none" rotWithShape="1"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  <a:tileRect/>
              </a:gradFill>
              <a:latin typeface="思源黑体 CN Normal"/>
              <a:ea typeface="微软雅黑" panose="020B0503020204020204" charset="-122"/>
            </a:endParaRPr>
          </a:p>
        </p:txBody>
      </p:sp>
      <p:sp>
        <p:nvSpPr>
          <p:cNvPr id="34" name="文本框 58"/>
          <p:cNvSpPr txBox="1">
            <a:spLocks noChangeArrowheads="1"/>
          </p:cNvSpPr>
          <p:nvPr/>
        </p:nvSpPr>
        <p:spPr>
          <a:xfrm>
            <a:off x="4913748" y="1850324"/>
            <a:ext cx="1427784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hangingPunct="1"/>
            <a:r>
              <a:rPr lang="en-US" altLang="zh-CN" sz="16600" b="1">
                <a:gradFill flip="none" rotWithShape="1"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  <a:tileRect/>
                </a:gradFill>
                <a:latin typeface="思源黑体 CN Normal"/>
                <a:ea typeface="微软雅黑" panose="020B0503020204020204" charset="-122"/>
              </a:rPr>
              <a:t>K</a:t>
            </a:r>
            <a:endParaRPr lang="en-US" altLang="zh-CN" sz="16600" b="1">
              <a:gradFill flip="none" rotWithShape="1"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  <a:tileRect/>
              </a:gradFill>
              <a:latin typeface="思源黑体 CN Normal"/>
              <a:ea typeface="微软雅黑" panose="020B0503020204020204" charset="-122"/>
            </a:endParaRPr>
          </a:p>
        </p:txBody>
      </p:sp>
      <p:sp>
        <p:nvSpPr>
          <p:cNvPr id="35" name="文本框 58"/>
          <p:cNvSpPr txBox="1">
            <a:spLocks noChangeArrowheads="1"/>
          </p:cNvSpPr>
          <p:nvPr/>
        </p:nvSpPr>
        <p:spPr>
          <a:xfrm>
            <a:off x="5736614" y="1850324"/>
            <a:ext cx="1427784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hangingPunct="1"/>
            <a:r>
              <a:rPr lang="en-US" altLang="zh-CN" sz="16600" b="1">
                <a:gradFill flip="none" rotWithShape="1"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  <a:tileRect/>
                </a:gradFill>
                <a:latin typeface="思源黑体 CN Normal"/>
                <a:ea typeface="微软雅黑" panose="020B0503020204020204" charset="-122"/>
              </a:rPr>
              <a:t>S</a:t>
            </a:r>
            <a:endParaRPr lang="en-US" altLang="zh-CN" sz="16600" b="1">
              <a:gradFill flip="none" rotWithShape="1"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  <a:tileRect/>
              </a:gradFill>
              <a:latin typeface="思源黑体 CN Normal"/>
              <a:ea typeface="微软雅黑" panose="020B050302020402020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>
        <p14:switch dir="r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 prLst="">
                                      <p:cBhvr>
                                        <p:cTn id="7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 prLst="">
                                      <p:cBhvr>
                                        <p:cTn id="10" dur="7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 prLst="">
                                      <p:cBhvr>
                                        <p:cTn id="13" dur="7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 prLst="">
                                      <p:cBhvr>
                                        <p:cTn id="16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 prLst="">
                                      <p:cBhvr>
                                        <p:cTn id="19" dur="7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 prLst="">
                                      <p:cBhvr>
                                        <p:cTn id="22" dur="7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dvAuto="0"/>
      <p:bldP spid="30" grpId="1" advAuto="0"/>
      <p:bldP spid="31" grpId="2" advAuto="0"/>
      <p:bldP spid="32" grpId="3" advAuto="0"/>
      <p:bldP spid="34" grpId="4" advAuto="0"/>
      <p:bldP spid="35" grpId="5" advAuto="0"/>
    </p:bldLst>
  </p:timing>
</p:sld>
</file>

<file path=ppt/tags/tag1.xml><?xml version="1.0" encoding="utf-8"?>
<p:tagLst xmlns:p="http://schemas.openxmlformats.org/presentationml/2006/main">
  <p:tag name="THINKCELLSHAPEDONOTDELETE" val="p1mrGOHOxF022ZIg2oT2dDg"/>
</p:tagLst>
</file>

<file path=ppt/tags/tag2.xml><?xml version="1.0" encoding="utf-8"?>
<p:tagLst xmlns:p="http://schemas.openxmlformats.org/presentationml/2006/main">
  <p:tag name="THINKCELLSHAPEDONOTDELETE" val="p1mrGOHOxF022ZIg2oT2dDg"/>
</p:tagLst>
</file>

<file path=ppt/tags/tag3.xml><?xml version="1.0" encoding="utf-8"?>
<p:tagLst xmlns:p="http://schemas.openxmlformats.org/presentationml/2006/main">
  <p:tag name="THINKCELLSHAPEDONOTDELETE" val="p1mrGOHOxF022ZIg2oT2dDg"/>
</p:tagLst>
</file>

<file path=ppt/tags/tag4.xml><?xml version="1.0" encoding="utf-8"?>
<p:tagLst xmlns:p="http://schemas.openxmlformats.org/presentationml/2006/main">
  <p:tag name="THINKCELLSHAPEDONOTDELETE" val="p1mrGOHOxF022ZIg2oT2dDg"/>
</p:tagLst>
</file>

<file path=ppt/tags/tag5.xml><?xml version="1.0" encoding="utf-8"?>
<p:tagLst xmlns:p="http://schemas.openxmlformats.org/presentationml/2006/main">
  <p:tag name="KSO_WM_SLIDE_MODEL_TYPE" val="cover"/>
</p:tagLst>
</file>

<file path=ppt/tags/tag6.xml><?xml version="1.0" encoding="utf-8"?>
<p:tagLst xmlns:p="http://schemas.openxmlformats.org/presentationml/2006/main">
  <p:tag name="KSO_WPP_MARK_KEY" val="2361d046-c5dd-4572-900b-a40c78335c69"/>
  <p:tag name="COMMONDATA" val="eyJoZGlkIjoiNWI4MmE5MjcyMmVlODNiMDhlODIzZDg5NWFmNWM3MTkifQ=="/>
</p:tagLst>
</file>

<file path=ppt/theme/theme1.xml><?xml version="1.0" encoding="utf-8"?>
<a:theme xmlns:a="http://schemas.openxmlformats.org/drawingml/2006/main" name="3_Profile">
  <a:themeElements>
    <a:clrScheme name="">
      <a:dk1>
        <a:srgbClr val="000000"/>
      </a:dk1>
      <a:lt1>
        <a:srgbClr val="FFFFFF"/>
      </a:lt1>
      <a:dk2>
        <a:srgbClr val="000000"/>
      </a:dk2>
      <a:lt2>
        <a:srgbClr val="DDDDDD"/>
      </a:lt2>
      <a:accent1>
        <a:srgbClr val="A3B2C1"/>
      </a:accent1>
      <a:accent2>
        <a:srgbClr val="CC0000"/>
      </a:accent2>
      <a:accent3>
        <a:srgbClr val="FFFFFF"/>
      </a:accent3>
      <a:accent4>
        <a:srgbClr val="000000"/>
      </a:accent4>
      <a:accent5>
        <a:srgbClr val="CED5DC"/>
      </a:accent5>
      <a:accent6>
        <a:srgbClr val="B70000"/>
      </a:accent6>
      <a:hlink>
        <a:srgbClr val="336699"/>
      </a:hlink>
      <a:folHlink>
        <a:srgbClr val="003366"/>
      </a:folHlink>
    </a:clrScheme>
    <a:fontScheme name="">
      <a:majorFont>
        <a:latin typeface="Verdana"/>
        <a:ea typeface="宋体"/>
        <a:cs typeface=""/>
      </a:majorFont>
      <a:minorFont>
        <a:latin typeface="Verdana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Profile">
  <a:themeElements>
    <a:clrScheme name="">
      <a:dk1>
        <a:srgbClr val="000000"/>
      </a:dk1>
      <a:lt1>
        <a:srgbClr val="FFFFFF"/>
      </a:lt1>
      <a:dk2>
        <a:srgbClr val="000000"/>
      </a:dk2>
      <a:lt2>
        <a:srgbClr val="DDDDDD"/>
      </a:lt2>
      <a:accent1>
        <a:srgbClr val="A3B2C1"/>
      </a:accent1>
      <a:accent2>
        <a:srgbClr val="CC0000"/>
      </a:accent2>
      <a:accent3>
        <a:srgbClr val="FFFFFF"/>
      </a:accent3>
      <a:accent4>
        <a:srgbClr val="000000"/>
      </a:accent4>
      <a:accent5>
        <a:srgbClr val="CED5DC"/>
      </a:accent5>
      <a:accent6>
        <a:srgbClr val="B70000"/>
      </a:accent6>
      <a:hlink>
        <a:srgbClr val="336699"/>
      </a:hlink>
      <a:folHlink>
        <a:srgbClr val="003366"/>
      </a:folHlink>
    </a:clrScheme>
    <a:fontScheme name="">
      <a:majorFont>
        <a:latin typeface="Verdana"/>
        <a:ea typeface="宋体"/>
        <a:cs typeface=""/>
      </a:majorFont>
      <a:minorFont>
        <a:latin typeface="Verdana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Profile">
  <a:themeElements>
    <a:clrScheme name="">
      <a:dk1>
        <a:srgbClr val="000000"/>
      </a:dk1>
      <a:lt1>
        <a:srgbClr val="FFFFFF"/>
      </a:lt1>
      <a:dk2>
        <a:srgbClr val="000000"/>
      </a:dk2>
      <a:lt2>
        <a:srgbClr val="DDDDDD"/>
      </a:lt2>
      <a:accent1>
        <a:srgbClr val="A3B2C1"/>
      </a:accent1>
      <a:accent2>
        <a:srgbClr val="CC0000"/>
      </a:accent2>
      <a:accent3>
        <a:srgbClr val="FFFFFF"/>
      </a:accent3>
      <a:accent4>
        <a:srgbClr val="000000"/>
      </a:accent4>
      <a:accent5>
        <a:srgbClr val="CED5DC"/>
      </a:accent5>
      <a:accent6>
        <a:srgbClr val="B70000"/>
      </a:accent6>
      <a:hlink>
        <a:srgbClr val="336699"/>
      </a:hlink>
      <a:folHlink>
        <a:srgbClr val="003366"/>
      </a:folHlink>
    </a:clrScheme>
    <a:fontScheme name="">
      <a:majorFont>
        <a:latin typeface="Verdana"/>
        <a:ea typeface="宋体"/>
        <a:cs typeface=""/>
      </a:majorFont>
      <a:minorFont>
        <a:latin typeface="Verdana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Profile">
  <a:themeElements>
    <a:clrScheme name="">
      <a:dk1>
        <a:srgbClr val="000000"/>
      </a:dk1>
      <a:lt1>
        <a:srgbClr val="FFFFFF"/>
      </a:lt1>
      <a:dk2>
        <a:srgbClr val="000000"/>
      </a:dk2>
      <a:lt2>
        <a:srgbClr val="DDDDDD"/>
      </a:lt2>
      <a:accent1>
        <a:srgbClr val="A3B2C1"/>
      </a:accent1>
      <a:accent2>
        <a:srgbClr val="CC0000"/>
      </a:accent2>
      <a:accent3>
        <a:srgbClr val="FFFFFF"/>
      </a:accent3>
      <a:accent4>
        <a:srgbClr val="000000"/>
      </a:accent4>
      <a:accent5>
        <a:srgbClr val="CED5DC"/>
      </a:accent5>
      <a:accent6>
        <a:srgbClr val="B70000"/>
      </a:accent6>
      <a:hlink>
        <a:srgbClr val="336699"/>
      </a:hlink>
      <a:folHlink>
        <a:srgbClr val="003366"/>
      </a:folHlink>
    </a:clrScheme>
    <a:fontScheme name="">
      <a:majorFont>
        <a:latin typeface="Verdana"/>
        <a:ea typeface="宋体"/>
        <a:cs typeface=""/>
      </a:majorFont>
      <a:minorFont>
        <a:latin typeface="Verdana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9</Words>
  <Application>WPS 演示</Application>
  <PresentationFormat>全屏显示(4:3)</PresentationFormat>
  <Paragraphs>49</Paragraphs>
  <Slides>6</Slides>
  <Notes>5</Notes>
  <HiddenSlides>0</HiddenSlides>
  <MMClips>0</MMClips>
  <ScaleCrop>false</ScaleCrop>
  <HeadingPairs>
    <vt:vector size="6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4</vt:i4>
      </vt:variant>
      <vt:variant>
        <vt:lpstr>幻灯片标题</vt:lpstr>
      </vt:variant>
      <vt:variant>
        <vt:i4>6</vt:i4>
      </vt:variant>
    </vt:vector>
  </HeadingPairs>
  <TitlesOfParts>
    <vt:vector size="23" baseType="lpstr">
      <vt:lpstr>Arial</vt:lpstr>
      <vt:lpstr>宋体</vt:lpstr>
      <vt:lpstr>Wingdings</vt:lpstr>
      <vt:lpstr>微软雅黑</vt:lpstr>
      <vt:lpstr>Verdana</vt:lpstr>
      <vt:lpstr>Calibri</vt:lpstr>
      <vt:lpstr>方正兰亭粗黑_GBK</vt:lpstr>
      <vt:lpstr>黑体</vt:lpstr>
      <vt:lpstr>Times New Roman</vt:lpstr>
      <vt:lpstr>Arial Narrow</vt:lpstr>
      <vt:lpstr>造字工房劲黑（非商用）常规体</vt:lpstr>
      <vt:lpstr>思源黑体 CN Normal</vt:lpstr>
      <vt:lpstr>Arial Unicode MS</vt:lpstr>
      <vt:lpstr>3_Profile</vt:lpstr>
      <vt:lpstr>2_Profile</vt:lpstr>
      <vt:lpstr>1_Profile</vt:lpstr>
      <vt:lpstr>Profil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/>
  <cp:lastModifiedBy>时光倒流</cp:lastModifiedBy>
  <cp:revision>396</cp:revision>
  <dcterms:created xsi:type="dcterms:W3CDTF">2018-12-11T07:25:00Z</dcterms:created>
  <dcterms:modified xsi:type="dcterms:W3CDTF">2025-04-01T03:56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2.1.0.20305</vt:lpwstr>
  </property>
  <property fmtid="{D5CDD505-2E9C-101B-9397-08002B2CF9AE}" pid="3" name="KSORubyTemplateID">
    <vt:lpwstr>2</vt:lpwstr>
  </property>
  <property fmtid="{D5CDD505-2E9C-101B-9397-08002B2CF9AE}" pid="4" name="ICV">
    <vt:lpwstr>50C3CEB55370478792C42E3C877EB2D8_12</vt:lpwstr>
  </property>
</Properties>
</file>